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848" r:id="rId2"/>
  </p:sldMasterIdLst>
  <p:notesMasterIdLst>
    <p:notesMasterId r:id="rId11"/>
  </p:notesMasterIdLst>
  <p:sldIdLst>
    <p:sldId id="256" r:id="rId3"/>
    <p:sldId id="258" r:id="rId4"/>
    <p:sldId id="286" r:id="rId5"/>
    <p:sldId id="288" r:id="rId6"/>
    <p:sldId id="324" r:id="rId7"/>
    <p:sldId id="315" r:id="rId8"/>
    <p:sldId id="311" r:id="rId9"/>
    <p:sldId id="405" r:id="rId10"/>
  </p:sldIdLst>
  <p:sldSz cx="9144000" cy="6858000" type="screen4x3"/>
  <p:notesSz cx="6858000" cy="9144000"/>
  <p:custDataLst>
    <p:tags r:id="rId12"/>
  </p:custDataLst>
  <p:defaultTextStyle>
    <a:defPPr>
      <a:defRPr lang="en-IN"/>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208">
          <p15:clr>
            <a:srgbClr val="A4A3A4"/>
          </p15:clr>
        </p15:guide>
        <p15:guide id="2" pos="4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FFFF"/>
    <a:srgbClr val="FF99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114" autoAdjust="0"/>
    <p:restoredTop sz="93606" autoAdjust="0"/>
  </p:normalViewPr>
  <p:slideViewPr>
    <p:cSldViewPr>
      <p:cViewPr varScale="1">
        <p:scale>
          <a:sx n="96" d="100"/>
          <a:sy n="96" d="100"/>
        </p:scale>
        <p:origin x="1181" y="72"/>
      </p:cViewPr>
      <p:guideLst>
        <p:guide orient="horz" pos="2208"/>
        <p:guide pos="4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00BB078F-0655-43A7-A5F5-12900786B6EF}" type="datetimeFigureOut">
              <a:rPr lang="en-US"/>
              <a:pPr>
                <a:defRPr/>
              </a:pPr>
              <a:t>10/22/2022</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70D6F0D1-890E-4C5A-9F0F-BF829539479F}" type="slidenum">
              <a:rPr lang="en-US"/>
              <a:pPr>
                <a:defRPr/>
              </a:pPr>
              <a:t>‹#›</a:t>
            </a:fld>
            <a:endParaRPr lang="en-US" dirty="0"/>
          </a:p>
        </p:txBody>
      </p:sp>
    </p:spTree>
    <p:extLst>
      <p:ext uri="{BB962C8B-B14F-4D97-AF65-F5344CB8AC3E}">
        <p14:creationId xmlns:p14="http://schemas.microsoft.com/office/powerpoint/2010/main" val="339944416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p>
        </p:txBody>
      </p:sp>
      <p:sp>
        <p:nvSpPr>
          <p:cNvPr id="4" name="Slide Number Placeholder 3"/>
          <p:cNvSpPr>
            <a:spLocks noGrp="1"/>
          </p:cNvSpPr>
          <p:nvPr>
            <p:ph type="sldNum" sz="quarter" idx="5"/>
          </p:nvPr>
        </p:nvSpPr>
        <p:spPr/>
        <p:txBody>
          <a:bodyPr/>
          <a:lstStyle/>
          <a:p>
            <a:pPr>
              <a:defRPr/>
            </a:pPr>
            <a:fld id="{D0DA32D4-B8CE-467B-A50B-B6B69B3C5BF9}" type="slidenum">
              <a:rPr lang="en-US" smtClean="0"/>
              <a:pPr>
                <a:defRPr/>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B03DA0C-0030-42D5-A430-8D28049B5563}" type="slidenum">
              <a:rPr lang="en-IN" smtClean="0"/>
              <a:pPr fontAlgn="base">
                <a:spcBef>
                  <a:spcPct val="0"/>
                </a:spcBef>
                <a:spcAft>
                  <a:spcPct val="0"/>
                </a:spcAft>
                <a:defRPr/>
              </a:pPr>
              <a:t>2</a:t>
            </a:fld>
            <a:endParaRPr lang="en-IN" dirty="0"/>
          </a:p>
        </p:txBody>
      </p:sp>
      <p:sp>
        <p:nvSpPr>
          <p:cNvPr id="57347"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ru-RU">
              <a:latin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480878E-0C39-42CF-9EB2-4A6A73D8DDAF}"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IN"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37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ru-RU">
              <a:latin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4CA4A69-FEFE-4818-A400-3BBC1FA5DC18}"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IN"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0419"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20"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ru-RU">
              <a:latin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E33DC44-0B23-40FA-A5BF-994AF958210E}" type="slidenum">
              <a:rPr kumimoji="0" lang="de-DE" sz="1200" b="0" i="0" u="none" strike="noStrike" kern="1200" cap="none" spc="0" normalizeH="0" baseline="0" noProof="0">
                <a:ln>
                  <a:noFill/>
                </a:ln>
                <a:solidFill>
                  <a:prstClr val="black"/>
                </a:solidFill>
                <a:effectLst/>
                <a:uLnTx/>
                <a:uFillTx/>
                <a:latin typeface="Calibri" pitchFamily="34" charset="0"/>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pitchFamily="34" charset="0"/>
              <a:ea typeface="+mn-ea"/>
              <a:cs typeface="Arial" pitchFamily="34" charset="0"/>
            </a:endParaRPr>
          </a:p>
        </p:txBody>
      </p:sp>
      <p:sp>
        <p:nvSpPr>
          <p:cNvPr id="75779" name="Text Box 3"/>
          <p:cNvSpPr txBox="1">
            <a:spLocks noGrp="1" noChangeArrowheads="1"/>
          </p:cNvSpPr>
          <p:nvPr/>
        </p:nvSpPr>
        <p:spPr bwMode="auto">
          <a:xfrm>
            <a:off x="3887788" y="8689975"/>
            <a:ext cx="2970212"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24" tIns="47416" rIns="94824" bIns="47416" anchor="b"/>
          <a:lstStyle>
            <a:lvl1pPr defTabSz="947738" eaLnBrk="0" hangingPunct="0">
              <a:defRPr>
                <a:solidFill>
                  <a:schemeClr val="tx1"/>
                </a:solidFill>
                <a:latin typeface="Arial" pitchFamily="34" charset="0"/>
                <a:cs typeface="Arial" pitchFamily="34" charset="0"/>
              </a:defRPr>
            </a:lvl1pPr>
            <a:lvl2pPr marL="742950" indent="-285750" defTabSz="947738" eaLnBrk="0" hangingPunct="0">
              <a:defRPr>
                <a:solidFill>
                  <a:schemeClr val="tx1"/>
                </a:solidFill>
                <a:latin typeface="Arial" pitchFamily="34" charset="0"/>
                <a:cs typeface="Arial" pitchFamily="34" charset="0"/>
              </a:defRPr>
            </a:lvl2pPr>
            <a:lvl3pPr marL="1143000" indent="-228600" defTabSz="947738" eaLnBrk="0" hangingPunct="0">
              <a:defRPr>
                <a:solidFill>
                  <a:schemeClr val="tx1"/>
                </a:solidFill>
                <a:latin typeface="Arial" pitchFamily="34" charset="0"/>
                <a:cs typeface="Arial" pitchFamily="34" charset="0"/>
              </a:defRPr>
            </a:lvl3pPr>
            <a:lvl4pPr marL="1600200" indent="-228600" defTabSz="947738" eaLnBrk="0" hangingPunct="0">
              <a:defRPr>
                <a:solidFill>
                  <a:schemeClr val="tx1"/>
                </a:solidFill>
                <a:latin typeface="Arial" pitchFamily="34" charset="0"/>
                <a:cs typeface="Arial" pitchFamily="34" charset="0"/>
              </a:defRPr>
            </a:lvl4pPr>
            <a:lvl5pPr marL="2057400" indent="-228600" defTabSz="947738" eaLnBrk="0" hangingPunct="0">
              <a:defRPr>
                <a:solidFill>
                  <a:schemeClr val="tx1"/>
                </a:solidFill>
                <a:latin typeface="Arial" pitchFamily="34" charset="0"/>
                <a:cs typeface="Arial" pitchFamily="34" charset="0"/>
              </a:defRPr>
            </a:lvl5pPr>
            <a:lvl6pPr marL="2514600" indent="-228600" defTabSz="94773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4773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4773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47738"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47738" rtl="0" eaLnBrk="1" fontAlgn="base" latinLnBrk="0" hangingPunct="1">
              <a:lnSpc>
                <a:spcPct val="100000"/>
              </a:lnSpc>
              <a:spcBef>
                <a:spcPct val="0"/>
              </a:spcBef>
              <a:spcAft>
                <a:spcPct val="0"/>
              </a:spcAft>
              <a:buClrTx/>
              <a:buSzTx/>
              <a:buFontTx/>
              <a:buNone/>
              <a:tabLst/>
              <a:defRPr/>
            </a:pPr>
            <a:fld id="{3124F369-C163-4CEC-A57C-827E66AAF821}" type="slidenum">
              <a:rPr kumimoji="0" lang="en-GB" sz="1300" b="0" i="0" u="none" strike="noStrike" kern="1200" cap="none" spc="0" normalizeH="0" baseline="0" noProof="0">
                <a:ln>
                  <a:noFill/>
                </a:ln>
                <a:solidFill>
                  <a:prstClr val="black"/>
                </a:solidFill>
                <a:effectLst/>
                <a:uLnTx/>
                <a:uFillTx/>
                <a:latin typeface="Calibri" pitchFamily="34" charset="0"/>
                <a:ea typeface="+mn-ea"/>
                <a:cs typeface="Arial" pitchFamily="34" charset="0"/>
              </a:rPr>
              <a:pPr marL="0" marR="0" lvl="0" indent="0" algn="r" defTabSz="947738" rtl="0" eaLnBrk="1" fontAlgn="base" latinLnBrk="0" hangingPunct="1">
                <a:lnSpc>
                  <a:spcPct val="100000"/>
                </a:lnSpc>
                <a:spcBef>
                  <a:spcPct val="0"/>
                </a:spcBef>
                <a:spcAft>
                  <a:spcPct val="0"/>
                </a:spcAft>
                <a:buClrTx/>
                <a:buSzTx/>
                <a:buFontTx/>
                <a:buNone/>
                <a:tabLst/>
                <a:defRPr/>
              </a:pPr>
              <a:t>5</a:t>
            </a:fld>
            <a:endParaRPr kumimoji="0" lang="en-GB" sz="1300" b="0" i="0" u="none" strike="noStrike" kern="1200" cap="none" spc="0" normalizeH="0" baseline="0" noProof="0">
              <a:ln>
                <a:noFill/>
              </a:ln>
              <a:solidFill>
                <a:prstClr val="black"/>
              </a:solidFill>
              <a:effectLst/>
              <a:uLnTx/>
              <a:uFillTx/>
              <a:latin typeface="Calibri" pitchFamily="34" charset="0"/>
              <a:ea typeface="+mn-ea"/>
              <a:cs typeface="Arial" pitchFamily="34" charset="0"/>
            </a:endParaRPr>
          </a:p>
        </p:txBody>
      </p:sp>
      <p:sp>
        <p:nvSpPr>
          <p:cNvPr id="75780" name="Rectangle 2"/>
          <p:cNvSpPr>
            <a:spLocks noGrp="1" noRot="1" noChangeAspect="1" noChangeArrowheads="1" noTextEdit="1"/>
          </p:cNvSpPr>
          <p:nvPr>
            <p:ph type="sldImg"/>
          </p:nvPr>
        </p:nvSpPr>
        <p:spPr bwMode="auto">
          <a:xfrm>
            <a:off x="1143000" y="685800"/>
            <a:ext cx="4573588" cy="34305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5781" name="Rectangle 3"/>
          <p:cNvSpPr>
            <a:spLocks noGrp="1" noChangeArrowheads="1"/>
          </p:cNvSpPr>
          <p:nvPr>
            <p:ph type="body" idx="1"/>
          </p:nvPr>
        </p:nvSpPr>
        <p:spPr bwMode="auto">
          <a:xfrm>
            <a:off x="914400" y="4343400"/>
            <a:ext cx="5029200" cy="411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4824" tIns="47416" rIns="94824" bIns="47416" numCol="1" anchor="t" anchorCtr="0" compatLnSpc="1">
            <a:prstTxWarp prst="textNoShape">
              <a:avLst/>
            </a:prstTxWarp>
          </a:bodyPr>
          <a:lstStyle/>
          <a:p>
            <a:pPr eaLnBrk="1" hangingPunct="1">
              <a:spcBef>
                <a:spcPct val="0"/>
              </a:spcBef>
            </a:pPr>
            <a:endParaRPr lang="en-US">
              <a:latin typeface="Arial" pitchFamily="34" charset="0"/>
              <a:cs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28F6BA0-74CE-4FF5-A84B-82DAAB2A81C2}"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IN"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82947"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294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ru-RU">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6019"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IN" noProof="1">
              <a:latin typeface="Arial" pitchFamily="34" charset="0"/>
              <a:cs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A79FDD-73DA-4947-A8C4-E7A4BAC9578E}" type="slidenum">
              <a:rPr kumimoji="0" lang="en-IN" sz="1200" b="0" i="0" u="none" strike="noStrike" kern="1200" cap="none" spc="0" normalizeH="0" baseline="0" noProof="0" smtClean="0">
                <a:ln>
                  <a:noFill/>
                </a:ln>
                <a:solidFill>
                  <a:prstClr val="black"/>
                </a:solidFill>
                <a:effectLst/>
                <a:uLnTx/>
                <a:uFillTx/>
                <a:latin typeface="Calibri"/>
                <a:ea typeface="ＭＳ Ｐゴシック" pitchFamily="-105"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IN" sz="1200" b="0" i="0" u="none" strike="noStrike" kern="1200" cap="none" spc="0" normalizeH="0" baseline="0" noProof="0">
              <a:ln>
                <a:noFill/>
              </a:ln>
              <a:solidFill>
                <a:prstClr val="black"/>
              </a:solidFill>
              <a:effectLst/>
              <a:uLnTx/>
              <a:uFillTx/>
              <a:latin typeface="Calibri"/>
              <a:ea typeface="ＭＳ Ｐゴシック" pitchFamily="-105" charset="-128"/>
              <a:cs typeface="+mn-cs"/>
            </a:endParaRPr>
          </a:p>
        </p:txBody>
      </p:sp>
    </p:spTree>
    <p:extLst>
      <p:ext uri="{BB962C8B-B14F-4D97-AF65-F5344CB8AC3E}">
        <p14:creationId xmlns:p14="http://schemas.microsoft.com/office/powerpoint/2010/main" val="19900939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28800" y="149225"/>
            <a:ext cx="4876800" cy="765175"/>
          </a:xfrm>
        </p:spPr>
        <p:txBody>
          <a:bodyPr>
            <a:noAutofit/>
          </a:bodyPr>
          <a:lstStyle>
            <a:lvl1pPr algn="ctr">
              <a:defRPr sz="3200" b="1">
                <a:solidFill>
                  <a:schemeClr val="bg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2286000" y="990600"/>
            <a:ext cx="4038600" cy="609600"/>
          </a:xfrm>
        </p:spPr>
        <p:txBody>
          <a:bodyPr>
            <a:noAutofit/>
          </a:bodyPr>
          <a:lstStyle>
            <a:lvl1pPr marL="0" indent="0" algn="ctr">
              <a:buNone/>
              <a:defRPr sz="2500">
                <a:solidFill>
                  <a:schemeClr val="bg1"/>
                </a:solidFill>
                <a:effectLst/>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smtClean="0"/>
            </a:lvl1pPr>
          </a:lstStyle>
          <a:p>
            <a:pPr>
              <a:defRPr/>
            </a:pPr>
            <a:fld id="{BAEDF1D9-E004-42CF-9277-15E915A07E41}" type="datetime1">
              <a:rPr lang="en-US" smtClean="0"/>
              <a:t>10/22/2022</a:t>
            </a:fld>
            <a:endParaRPr lang="en-US" dirty="0"/>
          </a:p>
        </p:txBody>
      </p:sp>
      <p:sp>
        <p:nvSpPr>
          <p:cNvPr id="5" name="Footer Placeholder 4"/>
          <p:cNvSpPr>
            <a:spLocks noGrp="1"/>
          </p:cNvSpPr>
          <p:nvPr>
            <p:ph type="ftr" sz="quarter" idx="11"/>
          </p:nvPr>
        </p:nvSpPr>
        <p:spPr>
          <a:xfrm>
            <a:off x="2743200" y="6356350"/>
            <a:ext cx="4114800" cy="365125"/>
          </a:xfrm>
        </p:spPr>
        <p:txBody>
          <a:bodyPr/>
          <a:lstStyle>
            <a:lvl1pPr>
              <a:defRPr smtClean="0"/>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E026330-C249-46BA-B9A7-F916FC05980D}" type="slidenum">
              <a:rPr lang="en-US"/>
              <a:pPr>
                <a:defRPr/>
              </a:pPr>
              <a:t>‹#›</a:t>
            </a:fld>
            <a:endParaRPr lang="en-US" dirty="0"/>
          </a:p>
        </p:txBody>
      </p:sp>
    </p:spTree>
    <p:extLst>
      <p:ext uri="{BB962C8B-B14F-4D97-AF65-F5344CB8AC3E}">
        <p14:creationId xmlns:p14="http://schemas.microsoft.com/office/powerpoint/2010/main" val="36734009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26D011BB-7B66-4585-BE1A-626B695AA678}" type="datetime1">
              <a:rPr lang="en-US" smtClean="0"/>
              <a:t>10/22/202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1E4D7B42-F66E-4663-B122-496EDC166F58}" type="slidenum">
              <a:rPr lang="en-US"/>
              <a:pPr>
                <a:defRPr/>
              </a:pPr>
              <a:t>‹#›</a:t>
            </a:fld>
            <a:endParaRPr lang="en-US" dirty="0"/>
          </a:p>
        </p:txBody>
      </p:sp>
    </p:spTree>
    <p:extLst>
      <p:ext uri="{BB962C8B-B14F-4D97-AF65-F5344CB8AC3E}">
        <p14:creationId xmlns:p14="http://schemas.microsoft.com/office/powerpoint/2010/main" val="8486065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62180098-EF4F-4785-8E6C-46D3638A9864}" type="datetime1">
              <a:rPr lang="en-US" smtClean="0"/>
              <a:t>10/22/202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ED3ECC14-F612-4D93-B0D8-D6D7073BE3E4}" type="slidenum">
              <a:rPr lang="en-US"/>
              <a:pPr>
                <a:defRPr/>
              </a:pPr>
              <a:t>‹#›</a:t>
            </a:fld>
            <a:endParaRPr lang="en-US" dirty="0"/>
          </a:p>
        </p:txBody>
      </p:sp>
    </p:spTree>
    <p:extLst>
      <p:ext uri="{BB962C8B-B14F-4D97-AF65-F5344CB8AC3E}">
        <p14:creationId xmlns:p14="http://schemas.microsoft.com/office/powerpoint/2010/main" val="1359819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IN"/>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5631BCA6-FB90-45E5-BE42-255A1B40E494}" type="datetimeFigureOut">
              <a:rPr lang="en-IN" smtClean="0"/>
              <a:pPr/>
              <a:t>22-10-2022</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33FF8953-83D1-4884-A1A5-12D206D204BE}" type="slidenum">
              <a:rPr lang="en-IN" smtClean="0"/>
              <a:pPr/>
              <a:t>‹#›</a:t>
            </a:fld>
            <a:endParaRPr lang="en-IN" dirty="0"/>
          </a:p>
        </p:txBody>
      </p:sp>
    </p:spTree>
    <p:extLst>
      <p:ext uri="{BB962C8B-B14F-4D97-AF65-F5344CB8AC3E}">
        <p14:creationId xmlns:p14="http://schemas.microsoft.com/office/powerpoint/2010/main" val="22915717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5631BCA6-FB90-45E5-BE42-255A1B40E494}" type="datetimeFigureOut">
              <a:rPr lang="en-IN" smtClean="0"/>
              <a:pPr/>
              <a:t>22-10-2022</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33FF8953-83D1-4884-A1A5-12D206D204BE}" type="slidenum">
              <a:rPr lang="en-IN" smtClean="0"/>
              <a:pPr/>
              <a:t>‹#›</a:t>
            </a:fld>
            <a:endParaRPr lang="en-IN" dirty="0"/>
          </a:p>
        </p:txBody>
      </p:sp>
    </p:spTree>
    <p:extLst>
      <p:ext uri="{BB962C8B-B14F-4D97-AF65-F5344CB8AC3E}">
        <p14:creationId xmlns:p14="http://schemas.microsoft.com/office/powerpoint/2010/main" val="21221522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IN"/>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631BCA6-FB90-45E5-BE42-255A1B40E494}" type="datetimeFigureOut">
              <a:rPr lang="en-IN" smtClean="0"/>
              <a:pPr/>
              <a:t>22-10-2022</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33FF8953-83D1-4884-A1A5-12D206D204BE}" type="slidenum">
              <a:rPr lang="en-IN" smtClean="0"/>
              <a:pPr/>
              <a:t>‹#›</a:t>
            </a:fld>
            <a:endParaRPr lang="en-IN" dirty="0"/>
          </a:p>
        </p:txBody>
      </p:sp>
    </p:spTree>
    <p:extLst>
      <p:ext uri="{BB962C8B-B14F-4D97-AF65-F5344CB8AC3E}">
        <p14:creationId xmlns:p14="http://schemas.microsoft.com/office/powerpoint/2010/main" val="15414045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5631BCA6-FB90-45E5-BE42-255A1B40E494}" type="datetimeFigureOut">
              <a:rPr lang="en-IN" smtClean="0"/>
              <a:pPr/>
              <a:t>22-10-2022</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33FF8953-83D1-4884-A1A5-12D206D204BE}" type="slidenum">
              <a:rPr lang="en-IN" smtClean="0"/>
              <a:pPr/>
              <a:t>‹#›</a:t>
            </a:fld>
            <a:endParaRPr lang="en-IN" dirty="0"/>
          </a:p>
        </p:txBody>
      </p:sp>
    </p:spTree>
    <p:extLst>
      <p:ext uri="{BB962C8B-B14F-4D97-AF65-F5344CB8AC3E}">
        <p14:creationId xmlns:p14="http://schemas.microsoft.com/office/powerpoint/2010/main" val="19941149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IN"/>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5631BCA6-FB90-45E5-BE42-255A1B40E494}" type="datetimeFigureOut">
              <a:rPr lang="en-IN" smtClean="0"/>
              <a:pPr/>
              <a:t>22-10-2022</a:t>
            </a:fld>
            <a:endParaRPr lang="en-IN" dirty="0"/>
          </a:p>
        </p:txBody>
      </p:sp>
      <p:sp>
        <p:nvSpPr>
          <p:cNvPr id="8" name="Footer Placeholder 7"/>
          <p:cNvSpPr>
            <a:spLocks noGrp="1"/>
          </p:cNvSpPr>
          <p:nvPr>
            <p:ph type="ftr" sz="quarter" idx="11"/>
          </p:nvPr>
        </p:nvSpPr>
        <p:spPr/>
        <p:txBody>
          <a:bodyPr/>
          <a:lstStyle/>
          <a:p>
            <a:endParaRPr lang="en-IN" dirty="0"/>
          </a:p>
        </p:txBody>
      </p:sp>
      <p:sp>
        <p:nvSpPr>
          <p:cNvPr id="9" name="Slide Number Placeholder 8"/>
          <p:cNvSpPr>
            <a:spLocks noGrp="1"/>
          </p:cNvSpPr>
          <p:nvPr>
            <p:ph type="sldNum" sz="quarter" idx="12"/>
          </p:nvPr>
        </p:nvSpPr>
        <p:spPr/>
        <p:txBody>
          <a:bodyPr/>
          <a:lstStyle/>
          <a:p>
            <a:fld id="{33FF8953-83D1-4884-A1A5-12D206D204BE}" type="slidenum">
              <a:rPr lang="en-IN" smtClean="0"/>
              <a:pPr/>
              <a:t>‹#›</a:t>
            </a:fld>
            <a:endParaRPr lang="en-IN" dirty="0"/>
          </a:p>
        </p:txBody>
      </p:sp>
    </p:spTree>
    <p:extLst>
      <p:ext uri="{BB962C8B-B14F-4D97-AF65-F5344CB8AC3E}">
        <p14:creationId xmlns:p14="http://schemas.microsoft.com/office/powerpoint/2010/main" val="21994118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5631BCA6-FB90-45E5-BE42-255A1B40E494}" type="datetimeFigureOut">
              <a:rPr lang="en-IN" smtClean="0"/>
              <a:pPr/>
              <a:t>22-10-2022</a:t>
            </a:fld>
            <a:endParaRPr lang="en-IN" dirty="0"/>
          </a:p>
        </p:txBody>
      </p:sp>
      <p:sp>
        <p:nvSpPr>
          <p:cNvPr id="4" name="Footer Placeholder 3"/>
          <p:cNvSpPr>
            <a:spLocks noGrp="1"/>
          </p:cNvSpPr>
          <p:nvPr>
            <p:ph type="ftr" sz="quarter" idx="11"/>
          </p:nvPr>
        </p:nvSpPr>
        <p:spPr/>
        <p:txBody>
          <a:bodyPr/>
          <a:lstStyle/>
          <a:p>
            <a:endParaRPr lang="en-IN" dirty="0"/>
          </a:p>
        </p:txBody>
      </p:sp>
      <p:sp>
        <p:nvSpPr>
          <p:cNvPr id="5" name="Slide Number Placeholder 4"/>
          <p:cNvSpPr>
            <a:spLocks noGrp="1"/>
          </p:cNvSpPr>
          <p:nvPr>
            <p:ph type="sldNum" sz="quarter" idx="12"/>
          </p:nvPr>
        </p:nvSpPr>
        <p:spPr/>
        <p:txBody>
          <a:bodyPr/>
          <a:lstStyle/>
          <a:p>
            <a:fld id="{33FF8953-83D1-4884-A1A5-12D206D204BE}" type="slidenum">
              <a:rPr lang="en-IN" smtClean="0"/>
              <a:pPr/>
              <a:t>‹#›</a:t>
            </a:fld>
            <a:endParaRPr lang="en-IN" dirty="0"/>
          </a:p>
        </p:txBody>
      </p:sp>
    </p:spTree>
    <p:extLst>
      <p:ext uri="{BB962C8B-B14F-4D97-AF65-F5344CB8AC3E}">
        <p14:creationId xmlns:p14="http://schemas.microsoft.com/office/powerpoint/2010/main" val="13311654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631BCA6-FB90-45E5-BE42-255A1B40E494}" type="datetimeFigureOut">
              <a:rPr lang="en-IN" smtClean="0"/>
              <a:pPr/>
              <a:t>22-10-2022</a:t>
            </a:fld>
            <a:endParaRPr lang="en-IN" dirty="0"/>
          </a:p>
        </p:txBody>
      </p:sp>
      <p:sp>
        <p:nvSpPr>
          <p:cNvPr id="3" name="Footer Placeholder 2"/>
          <p:cNvSpPr>
            <a:spLocks noGrp="1"/>
          </p:cNvSpPr>
          <p:nvPr>
            <p:ph type="ftr" sz="quarter" idx="11"/>
          </p:nvPr>
        </p:nvSpPr>
        <p:spPr/>
        <p:txBody>
          <a:bodyPr/>
          <a:lstStyle/>
          <a:p>
            <a:endParaRPr lang="en-IN" dirty="0"/>
          </a:p>
        </p:txBody>
      </p:sp>
      <p:sp>
        <p:nvSpPr>
          <p:cNvPr id="4" name="Slide Number Placeholder 3"/>
          <p:cNvSpPr>
            <a:spLocks noGrp="1"/>
          </p:cNvSpPr>
          <p:nvPr>
            <p:ph type="sldNum" sz="quarter" idx="12"/>
          </p:nvPr>
        </p:nvSpPr>
        <p:spPr/>
        <p:txBody>
          <a:bodyPr/>
          <a:lstStyle/>
          <a:p>
            <a:fld id="{33FF8953-83D1-4884-A1A5-12D206D204BE}" type="slidenum">
              <a:rPr lang="en-IN" smtClean="0"/>
              <a:pPr/>
              <a:t>‹#›</a:t>
            </a:fld>
            <a:endParaRPr lang="en-IN" dirty="0"/>
          </a:p>
        </p:txBody>
      </p:sp>
    </p:spTree>
    <p:extLst>
      <p:ext uri="{BB962C8B-B14F-4D97-AF65-F5344CB8AC3E}">
        <p14:creationId xmlns:p14="http://schemas.microsoft.com/office/powerpoint/2010/main" val="2278893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IN"/>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631BCA6-FB90-45E5-BE42-255A1B40E494}" type="datetimeFigureOut">
              <a:rPr lang="en-IN" smtClean="0"/>
              <a:pPr/>
              <a:t>22-10-2022</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33FF8953-83D1-4884-A1A5-12D206D204BE}" type="slidenum">
              <a:rPr lang="en-IN" smtClean="0"/>
              <a:pPr/>
              <a:t>‹#›</a:t>
            </a:fld>
            <a:endParaRPr lang="en-IN" dirty="0"/>
          </a:p>
        </p:txBody>
      </p:sp>
    </p:spTree>
    <p:extLst>
      <p:ext uri="{BB962C8B-B14F-4D97-AF65-F5344CB8AC3E}">
        <p14:creationId xmlns:p14="http://schemas.microsoft.com/office/powerpoint/2010/main" val="4254302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0"/>
            <a:ext cx="8229600" cy="914400"/>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D90B7E66-1DA8-4FE0-9434-A32924F4EB06}" type="datetime1">
              <a:rPr lang="en-US" smtClean="0"/>
              <a:t>10/22/202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4D792A9-8B44-43F6-9BDB-07F8C9E0C010}" type="slidenum">
              <a:rPr lang="en-US"/>
              <a:pPr>
                <a:defRPr/>
              </a:pPr>
              <a:t>‹#›</a:t>
            </a:fld>
            <a:endParaRPr lang="en-US" dirty="0"/>
          </a:p>
        </p:txBody>
      </p:sp>
    </p:spTree>
    <p:extLst>
      <p:ext uri="{BB962C8B-B14F-4D97-AF65-F5344CB8AC3E}">
        <p14:creationId xmlns:p14="http://schemas.microsoft.com/office/powerpoint/2010/main" val="25596959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631BCA6-FB90-45E5-BE42-255A1B40E494}" type="datetimeFigureOut">
              <a:rPr lang="en-IN" smtClean="0"/>
              <a:pPr/>
              <a:t>22-10-2022</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33FF8953-83D1-4884-A1A5-12D206D204BE}" type="slidenum">
              <a:rPr lang="en-IN" smtClean="0"/>
              <a:pPr/>
              <a:t>‹#›</a:t>
            </a:fld>
            <a:endParaRPr lang="en-IN" dirty="0"/>
          </a:p>
        </p:txBody>
      </p:sp>
    </p:spTree>
    <p:extLst>
      <p:ext uri="{BB962C8B-B14F-4D97-AF65-F5344CB8AC3E}">
        <p14:creationId xmlns:p14="http://schemas.microsoft.com/office/powerpoint/2010/main" val="6294852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5631BCA6-FB90-45E5-BE42-255A1B40E494}" type="datetimeFigureOut">
              <a:rPr lang="en-IN" smtClean="0"/>
              <a:pPr/>
              <a:t>22-10-2022</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33FF8953-83D1-4884-A1A5-12D206D204BE}" type="slidenum">
              <a:rPr lang="en-IN" smtClean="0"/>
              <a:pPr/>
              <a:t>‹#›</a:t>
            </a:fld>
            <a:endParaRPr lang="en-IN" dirty="0"/>
          </a:p>
        </p:txBody>
      </p:sp>
    </p:spTree>
    <p:extLst>
      <p:ext uri="{BB962C8B-B14F-4D97-AF65-F5344CB8AC3E}">
        <p14:creationId xmlns:p14="http://schemas.microsoft.com/office/powerpoint/2010/main" val="15287937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5631BCA6-FB90-45E5-BE42-255A1B40E494}" type="datetimeFigureOut">
              <a:rPr lang="en-IN" smtClean="0"/>
              <a:pPr/>
              <a:t>22-10-2022</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33FF8953-83D1-4884-A1A5-12D206D204BE}" type="slidenum">
              <a:rPr lang="en-IN" smtClean="0"/>
              <a:pPr/>
              <a:t>‹#›</a:t>
            </a:fld>
            <a:endParaRPr lang="en-IN" dirty="0"/>
          </a:p>
        </p:txBody>
      </p:sp>
    </p:spTree>
    <p:extLst>
      <p:ext uri="{BB962C8B-B14F-4D97-AF65-F5344CB8AC3E}">
        <p14:creationId xmlns:p14="http://schemas.microsoft.com/office/powerpoint/2010/main" val="32011105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8DAD4E08-BBCA-4257-87DD-063AC489BBF0}" type="datetime1">
              <a:rPr lang="en-US" smtClean="0"/>
              <a:t>10/22/202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310CCFF2-7746-421D-8A80-BDF7B48B535B}" type="slidenum">
              <a:rPr lang="en-US"/>
              <a:pPr>
                <a:defRPr/>
              </a:pPr>
              <a:t>‹#›</a:t>
            </a:fld>
            <a:endParaRPr lang="en-US" dirty="0"/>
          </a:p>
        </p:txBody>
      </p:sp>
    </p:spTree>
    <p:extLst>
      <p:ext uri="{BB962C8B-B14F-4D97-AF65-F5344CB8AC3E}">
        <p14:creationId xmlns:p14="http://schemas.microsoft.com/office/powerpoint/2010/main" val="18028928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44368830-F464-4903-A6DD-F466EEF32E70}" type="datetime1">
              <a:rPr lang="en-US" smtClean="0"/>
              <a:t>10/22/202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92E68449-73F4-489E-98E5-D61B6E934FF1}" type="slidenum">
              <a:rPr lang="en-US"/>
              <a:pPr>
                <a:defRPr/>
              </a:pPr>
              <a:t>‹#›</a:t>
            </a:fld>
            <a:endParaRPr lang="en-US" dirty="0"/>
          </a:p>
        </p:txBody>
      </p:sp>
    </p:spTree>
    <p:extLst>
      <p:ext uri="{BB962C8B-B14F-4D97-AF65-F5344CB8AC3E}">
        <p14:creationId xmlns:p14="http://schemas.microsoft.com/office/powerpoint/2010/main" val="38553747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5C29FF50-8938-4D83-A0C9-98E17754A2B0}" type="datetime1">
              <a:rPr lang="en-US" smtClean="0"/>
              <a:t>10/22/202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2E8C751A-3B57-4A3A-8F11-A96135A75EF5}" type="slidenum">
              <a:rPr lang="en-US"/>
              <a:pPr>
                <a:defRPr/>
              </a:pPr>
              <a:t>‹#›</a:t>
            </a:fld>
            <a:endParaRPr lang="en-US" dirty="0"/>
          </a:p>
        </p:txBody>
      </p:sp>
    </p:spTree>
    <p:extLst>
      <p:ext uri="{BB962C8B-B14F-4D97-AF65-F5344CB8AC3E}">
        <p14:creationId xmlns:p14="http://schemas.microsoft.com/office/powerpoint/2010/main" val="38193539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9031396A-485F-4007-967B-DA1E6FD8583A}" type="datetime1">
              <a:rPr lang="en-US" smtClean="0"/>
              <a:t>10/22/202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47C1F201-E03D-4AA2-AAF7-9C5E304C7AA0}" type="slidenum">
              <a:rPr lang="en-US"/>
              <a:pPr>
                <a:defRPr/>
              </a:pPr>
              <a:t>‹#›</a:t>
            </a:fld>
            <a:endParaRPr lang="en-US" dirty="0"/>
          </a:p>
        </p:txBody>
      </p:sp>
    </p:spTree>
    <p:extLst>
      <p:ext uri="{BB962C8B-B14F-4D97-AF65-F5344CB8AC3E}">
        <p14:creationId xmlns:p14="http://schemas.microsoft.com/office/powerpoint/2010/main" val="28260356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49117C63-1B29-4751-9BB3-984C23382707}" type="datetime1">
              <a:rPr lang="en-US" smtClean="0"/>
              <a:t>10/22/202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4E472E33-9260-4A84-A247-9D630C7D6D8B}" type="slidenum">
              <a:rPr lang="en-US"/>
              <a:pPr>
                <a:defRPr/>
              </a:pPr>
              <a:t>‹#›</a:t>
            </a:fld>
            <a:endParaRPr lang="en-US" dirty="0"/>
          </a:p>
        </p:txBody>
      </p:sp>
    </p:spTree>
    <p:extLst>
      <p:ext uri="{BB962C8B-B14F-4D97-AF65-F5344CB8AC3E}">
        <p14:creationId xmlns:p14="http://schemas.microsoft.com/office/powerpoint/2010/main" val="28819403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72E2EEA5-36B4-41A1-A7C4-F4CF31B3FC86}" type="datetime1">
              <a:rPr lang="en-US" smtClean="0"/>
              <a:t>10/22/202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47C76184-1ECD-468D-A162-D0BDB590DD8C}" type="slidenum">
              <a:rPr lang="en-US"/>
              <a:pPr>
                <a:defRPr/>
              </a:pPr>
              <a:t>‹#›</a:t>
            </a:fld>
            <a:endParaRPr lang="en-US" dirty="0"/>
          </a:p>
        </p:txBody>
      </p:sp>
    </p:spTree>
    <p:extLst>
      <p:ext uri="{BB962C8B-B14F-4D97-AF65-F5344CB8AC3E}">
        <p14:creationId xmlns:p14="http://schemas.microsoft.com/office/powerpoint/2010/main" val="27444044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DB729F43-A952-4549-9FD0-A72725585B65}" type="datetime1">
              <a:rPr lang="en-US" smtClean="0"/>
              <a:t>10/22/202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79A5194D-9D1A-4F07-B0C7-29165436AD3E}" type="slidenum">
              <a:rPr lang="en-US"/>
              <a:pPr>
                <a:defRPr/>
              </a:pPr>
              <a:t>‹#›</a:t>
            </a:fld>
            <a:endParaRPr lang="en-US" dirty="0"/>
          </a:p>
        </p:txBody>
      </p:sp>
    </p:spTree>
    <p:extLst>
      <p:ext uri="{BB962C8B-B14F-4D97-AF65-F5344CB8AC3E}">
        <p14:creationId xmlns:p14="http://schemas.microsoft.com/office/powerpoint/2010/main" val="41867672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0"/>
            <a:ext cx="82296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IN"/>
          </a:p>
        </p:txBody>
      </p:sp>
      <p:sp>
        <p:nvSpPr>
          <p:cNvPr id="1027" name="Text Placeholder 2"/>
          <p:cNvSpPr>
            <a:spLocks noGrp="1"/>
          </p:cNvSpPr>
          <p:nvPr>
            <p:ph type="body" idx="1"/>
          </p:nvPr>
        </p:nvSpPr>
        <p:spPr bwMode="auto">
          <a:xfrm>
            <a:off x="457200" y="2514600"/>
            <a:ext cx="8229600" cy="403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fld id="{20200CAD-2ED7-4728-B7E4-5DF5585D66AF}" type="datetime1">
              <a:rPr lang="en-US" smtClean="0"/>
              <a:t>10/22/2022</a:t>
            </a:fld>
            <a:endParaRPr lang="en-US" dirty="0"/>
          </a:p>
        </p:txBody>
      </p:sp>
      <p:sp>
        <p:nvSpPr>
          <p:cNvPr id="5" name="Footer Placeholder 4"/>
          <p:cNvSpPr>
            <a:spLocks noGrp="1"/>
          </p:cNvSpPr>
          <p:nvPr>
            <p:ph type="ftr" sz="quarter" idx="3"/>
          </p:nvPr>
        </p:nvSpPr>
        <p:spPr>
          <a:xfrm>
            <a:off x="2590800" y="6356350"/>
            <a:ext cx="3733800" cy="365125"/>
          </a:xfrm>
          <a:prstGeom prst="rect">
            <a:avLst/>
          </a:prstGeom>
        </p:spPr>
        <p:txBody>
          <a:bodyPr vert="horz" lIns="91440" tIns="45720" rIns="91440" bIns="45720" rtlCol="0" anchor="ctr"/>
          <a:lstStyle>
            <a:lvl1pPr algn="ctr" fontAlgn="auto">
              <a:spcBef>
                <a:spcPts val="0"/>
              </a:spcBef>
              <a:spcAft>
                <a:spcPts val="0"/>
              </a:spcAft>
              <a:defRPr sz="1200" smtClean="0">
                <a:solidFill>
                  <a:schemeClr val="tx1">
                    <a:tint val="75000"/>
                  </a:schemeClr>
                </a:solidFill>
                <a:latin typeface="+mn-lt"/>
                <a:cs typeface="+mn-cs"/>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AD88C59C-CE3D-45BD-A860-3059427A566F}"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847"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Lst>
  <p:hf sldNum="0" hdr="0" ftr="0" dt="0"/>
  <p:txStyles>
    <p:titleStyle>
      <a:lvl1pPr algn="ctr" rtl="0" eaLnBrk="0" fontAlgn="base" hangingPunct="0">
        <a:spcBef>
          <a:spcPct val="0"/>
        </a:spcBef>
        <a:spcAft>
          <a:spcPct val="0"/>
        </a:spcAft>
        <a:defRPr sz="4400" kern="1200">
          <a:solidFill>
            <a:schemeClr val="tx1"/>
          </a:solidFill>
          <a:latin typeface="Tahoma" pitchFamily="34" charset="0"/>
          <a:ea typeface="Tahoma" pitchFamily="34" charset="0"/>
          <a:cs typeface="Tahoma" pitchFamily="34" charset="0"/>
        </a:defRPr>
      </a:lvl1pPr>
      <a:lvl2pPr algn="ctr" rtl="0" eaLnBrk="0" fontAlgn="base" hangingPunct="0">
        <a:spcBef>
          <a:spcPct val="0"/>
        </a:spcBef>
        <a:spcAft>
          <a:spcPct val="0"/>
        </a:spcAft>
        <a:defRPr sz="4400">
          <a:solidFill>
            <a:schemeClr val="tx1"/>
          </a:solidFill>
          <a:latin typeface="Tahoma" pitchFamily="34" charset="0"/>
          <a:cs typeface="Tahoma" pitchFamily="34" charset="0"/>
        </a:defRPr>
      </a:lvl2pPr>
      <a:lvl3pPr algn="ctr" rtl="0" eaLnBrk="0" fontAlgn="base" hangingPunct="0">
        <a:spcBef>
          <a:spcPct val="0"/>
        </a:spcBef>
        <a:spcAft>
          <a:spcPct val="0"/>
        </a:spcAft>
        <a:defRPr sz="4400">
          <a:solidFill>
            <a:schemeClr val="tx1"/>
          </a:solidFill>
          <a:latin typeface="Tahoma" pitchFamily="34" charset="0"/>
          <a:cs typeface="Tahoma" pitchFamily="34" charset="0"/>
        </a:defRPr>
      </a:lvl3pPr>
      <a:lvl4pPr algn="ctr" rtl="0" eaLnBrk="0" fontAlgn="base" hangingPunct="0">
        <a:spcBef>
          <a:spcPct val="0"/>
        </a:spcBef>
        <a:spcAft>
          <a:spcPct val="0"/>
        </a:spcAft>
        <a:defRPr sz="4400">
          <a:solidFill>
            <a:schemeClr val="tx1"/>
          </a:solidFill>
          <a:latin typeface="Tahoma" pitchFamily="34" charset="0"/>
          <a:cs typeface="Tahoma" pitchFamily="34" charset="0"/>
        </a:defRPr>
      </a:lvl4pPr>
      <a:lvl5pPr algn="ctr" rtl="0" eaLnBrk="0" fontAlgn="base" hangingPunct="0">
        <a:spcBef>
          <a:spcPct val="0"/>
        </a:spcBef>
        <a:spcAft>
          <a:spcPct val="0"/>
        </a:spcAft>
        <a:defRPr sz="4400">
          <a:solidFill>
            <a:schemeClr val="tx1"/>
          </a:solidFill>
          <a:latin typeface="Tahoma" pitchFamily="34" charset="0"/>
          <a:cs typeface="Tahoma" pitchFamily="34" charset="0"/>
        </a:defRPr>
      </a:lvl5pPr>
      <a:lvl6pPr marL="457200" algn="ctr" rtl="0" eaLnBrk="1" fontAlgn="base" hangingPunct="1">
        <a:spcBef>
          <a:spcPct val="0"/>
        </a:spcBef>
        <a:spcAft>
          <a:spcPct val="0"/>
        </a:spcAft>
        <a:defRPr sz="4400">
          <a:solidFill>
            <a:schemeClr val="tx1"/>
          </a:solidFill>
          <a:latin typeface="Tahoma" pitchFamily="34" charset="0"/>
          <a:cs typeface="Tahoma" pitchFamily="34" charset="0"/>
        </a:defRPr>
      </a:lvl6pPr>
      <a:lvl7pPr marL="914400" algn="ctr" rtl="0" eaLnBrk="1" fontAlgn="base" hangingPunct="1">
        <a:spcBef>
          <a:spcPct val="0"/>
        </a:spcBef>
        <a:spcAft>
          <a:spcPct val="0"/>
        </a:spcAft>
        <a:defRPr sz="4400">
          <a:solidFill>
            <a:schemeClr val="tx1"/>
          </a:solidFill>
          <a:latin typeface="Tahoma" pitchFamily="34" charset="0"/>
          <a:cs typeface="Tahoma" pitchFamily="34" charset="0"/>
        </a:defRPr>
      </a:lvl7pPr>
      <a:lvl8pPr marL="1371600" algn="ctr" rtl="0" eaLnBrk="1" fontAlgn="base" hangingPunct="1">
        <a:spcBef>
          <a:spcPct val="0"/>
        </a:spcBef>
        <a:spcAft>
          <a:spcPct val="0"/>
        </a:spcAft>
        <a:defRPr sz="4400">
          <a:solidFill>
            <a:schemeClr val="tx1"/>
          </a:solidFill>
          <a:latin typeface="Tahoma" pitchFamily="34" charset="0"/>
          <a:cs typeface="Tahoma" pitchFamily="34" charset="0"/>
        </a:defRPr>
      </a:lvl8pPr>
      <a:lvl9pPr marL="1828800" algn="ctr" rtl="0" eaLnBrk="1" fontAlgn="base" hangingPunct="1">
        <a:spcBef>
          <a:spcPct val="0"/>
        </a:spcBef>
        <a:spcAft>
          <a:spcPct val="0"/>
        </a:spcAft>
        <a:defRPr sz="4400">
          <a:solidFill>
            <a:schemeClr val="tx1"/>
          </a:solidFill>
          <a:latin typeface="Tahoma" pitchFamily="34" charset="0"/>
          <a:cs typeface="Tahoma" pitchFamily="34" charset="0"/>
        </a:defRPr>
      </a:lvl9pPr>
    </p:titleStyle>
    <p:bodyStyle>
      <a:lvl1pPr marL="342900" indent="-3429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31BCA6-FB90-45E5-BE42-255A1B40E494}" type="datetimeFigureOut">
              <a:rPr lang="en-IN" smtClean="0"/>
              <a:pPr/>
              <a:t>22-10-2022</a:t>
            </a:fld>
            <a:endParaRPr lang="en-IN"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FF8953-83D1-4884-A1A5-12D206D204BE}" type="slidenum">
              <a:rPr lang="en-IN" smtClean="0"/>
              <a:pPr/>
              <a:t>‹#›</a:t>
            </a:fld>
            <a:endParaRPr lang="en-IN" dirty="0"/>
          </a:p>
        </p:txBody>
      </p:sp>
    </p:spTree>
    <p:extLst>
      <p:ext uri="{BB962C8B-B14F-4D97-AF65-F5344CB8AC3E}">
        <p14:creationId xmlns:p14="http://schemas.microsoft.com/office/powerpoint/2010/main" val="514181953"/>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4.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6.png"/><Relationship Id="rId4" Type="http://schemas.openxmlformats.org/officeDocument/2006/relationships/image" Target="../media/image5.jpeg"/></Relationships>
</file>

<file path=ppt/slides/_rels/slide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7.xml"/><Relationship Id="rId7" Type="http://schemas.openxmlformats.org/officeDocument/2006/relationships/image" Target="../media/image2.jpe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xml"/><Relationship Id="rId1" Type="http://schemas.openxmlformats.org/officeDocument/2006/relationships/tags" Target="../tags/tag10.xml"/><Relationship Id="rId6" Type="http://schemas.openxmlformats.org/officeDocument/2006/relationships/image" Target="../media/image9.jpeg"/><Relationship Id="rId5" Type="http://schemas.openxmlformats.org/officeDocument/2006/relationships/slide" Target="slide1.xm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Subtitle 4"/>
          <p:cNvSpPr>
            <a:spLocks noGrp="1"/>
          </p:cNvSpPr>
          <p:nvPr>
            <p:ph type="subTitle" idx="1"/>
          </p:nvPr>
        </p:nvSpPr>
        <p:spPr>
          <a:xfrm>
            <a:off x="457200" y="609600"/>
            <a:ext cx="8229600" cy="609600"/>
          </a:xfrm>
        </p:spPr>
        <p:txBody>
          <a:bodyPr/>
          <a:lstStyle/>
          <a:p>
            <a:pPr eaLnBrk="1" hangingPunct="1"/>
            <a:r>
              <a:rPr lang="en-US" sz="4400" b="1" dirty="0">
                <a:latin typeface="Eras Demi ITC" panose="020B0805030504020804" pitchFamily="34" charset="0"/>
              </a:rPr>
              <a:t>Facing Interview For Success</a:t>
            </a:r>
          </a:p>
        </p:txBody>
      </p:sp>
    </p:spTree>
    <p:custDataLst>
      <p:tags r:id="rId1"/>
    </p:custDataLst>
  </p:cSld>
  <p:clrMapOvr>
    <a:masterClrMapping/>
  </p:clrMapOvr>
  <p:transition spd="slow" advClick="0" advTm="26000">
    <p:split dir="in"/>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1000"/>
                                  </p:stCondLst>
                                  <p:childTnLst>
                                    <p:set>
                                      <p:cBhvr>
                                        <p:cTn id="6" dur="1" fill="hold">
                                          <p:stCondLst>
                                            <p:cond delay="0"/>
                                          </p:stCondLst>
                                        </p:cTn>
                                        <p:tgtEl>
                                          <p:spTgt spid="3074">
                                            <p:txEl>
                                              <p:pRg st="0" end="0"/>
                                            </p:txEl>
                                          </p:spTgt>
                                        </p:tgtEl>
                                        <p:attrNameLst>
                                          <p:attrName>style.visibility</p:attrName>
                                        </p:attrNameLst>
                                      </p:cBhvr>
                                      <p:to>
                                        <p:strVal val="visible"/>
                                      </p:to>
                                    </p:set>
                                    <p:anim calcmode="lin" valueType="num">
                                      <p:cBhvr additive="base">
                                        <p:cTn id="7" dur="1000" fill="hold"/>
                                        <p:tgtEl>
                                          <p:spTgt spid="3074">
                                            <p:txEl>
                                              <p:pRg st="0" end="0"/>
                                            </p:txEl>
                                          </p:spTgt>
                                        </p:tgtEl>
                                        <p:attrNameLst>
                                          <p:attrName>ppt_x</p:attrName>
                                        </p:attrNameLst>
                                      </p:cBhvr>
                                      <p:tavLst>
                                        <p:tav tm="0">
                                          <p:val>
                                            <p:strVal val="#ppt_x"/>
                                          </p:val>
                                        </p:tav>
                                        <p:tav tm="100000">
                                          <p:val>
                                            <p:strVal val="#ppt_x"/>
                                          </p:val>
                                        </p:tav>
                                      </p:tavLst>
                                    </p:anim>
                                    <p:anim calcmode="lin" valueType="num">
                                      <p:cBhvr additive="base">
                                        <p:cTn id="8" dur="1000" fill="hold"/>
                                        <p:tgtEl>
                                          <p:spTgt spid="3074">
                                            <p:txEl>
                                              <p:pRg st="0" end="0"/>
                                            </p:txEl>
                                          </p:spTgt>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74"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18" name="TextBox 22"/>
          <p:cNvSpPr txBox="1">
            <a:spLocks noChangeArrowheads="1"/>
          </p:cNvSpPr>
          <p:nvPr/>
        </p:nvSpPr>
        <p:spPr bwMode="auto">
          <a:xfrm>
            <a:off x="685800" y="1905000"/>
            <a:ext cx="311001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2800" b="1" dirty="0">
                <a:latin typeface="+mn-lt"/>
              </a:rPr>
              <a:t>Learning Objectives</a:t>
            </a:r>
          </a:p>
        </p:txBody>
      </p:sp>
      <p:grpSp>
        <p:nvGrpSpPr>
          <p:cNvPr id="4" name="Group 3">
            <a:extLst>
              <a:ext uri="{FF2B5EF4-FFF2-40B4-BE49-F238E27FC236}">
                <a16:creationId xmlns:a16="http://schemas.microsoft.com/office/drawing/2014/main" id="{D4946162-0C85-467D-92ED-DF2803FF77F0}"/>
              </a:ext>
            </a:extLst>
          </p:cNvPr>
          <p:cNvGrpSpPr/>
          <p:nvPr/>
        </p:nvGrpSpPr>
        <p:grpSpPr>
          <a:xfrm>
            <a:off x="1066800" y="2682875"/>
            <a:ext cx="6350953" cy="641350"/>
            <a:chOff x="1066800" y="2682875"/>
            <a:chExt cx="6350953" cy="641350"/>
          </a:xfrm>
        </p:grpSpPr>
        <p:sp>
          <p:nvSpPr>
            <p:cNvPr id="4099" name="Oval 8"/>
            <p:cNvSpPr>
              <a:spLocks noChangeArrowheads="1"/>
            </p:cNvSpPr>
            <p:nvPr/>
          </p:nvSpPr>
          <p:spPr bwMode="auto">
            <a:xfrm>
              <a:off x="1128713" y="2774950"/>
              <a:ext cx="517525" cy="517525"/>
            </a:xfrm>
            <a:prstGeom prst="ellipse">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ctr"/>
              <a:endParaRPr lang="ru-RU" sz="2000">
                <a:solidFill>
                  <a:srgbClr val="FFFF00"/>
                </a:solidFill>
                <a:latin typeface="+mn-lt"/>
              </a:endParaRPr>
            </a:p>
          </p:txBody>
        </p:sp>
        <p:sp>
          <p:nvSpPr>
            <p:cNvPr id="40969" name="Oval 9"/>
            <p:cNvSpPr>
              <a:spLocks noChangeArrowheads="1"/>
            </p:cNvSpPr>
            <p:nvPr/>
          </p:nvSpPr>
          <p:spPr bwMode="auto">
            <a:xfrm flipH="1">
              <a:off x="1187450" y="2781300"/>
              <a:ext cx="404813" cy="303213"/>
            </a:xfrm>
            <a:prstGeom prst="ellipse">
              <a:avLst/>
            </a:prstGeom>
            <a:gradFill rotWithShape="1">
              <a:gsLst>
                <a:gs pos="0">
                  <a:schemeClr val="bg2">
                    <a:gamma/>
                    <a:tint val="0"/>
                    <a:invGamma/>
                  </a:schemeClr>
                </a:gs>
                <a:gs pos="100000">
                  <a:schemeClr val="bg2"/>
                </a:gs>
              </a:gsLst>
              <a:lin ang="5400000" scaled="1"/>
            </a:gradFill>
            <a:ln w="9525">
              <a:noFill/>
              <a:round/>
              <a:headEnd/>
              <a:tailEnd/>
            </a:ln>
            <a:effectLst/>
          </p:spPr>
          <p:txBody>
            <a:bodyPr wrap="none" anchor="ctr"/>
            <a:lstStyle/>
            <a:p>
              <a:pPr algn="ctr" fontAlgn="auto">
                <a:spcBef>
                  <a:spcPts val="0"/>
                </a:spcBef>
                <a:spcAft>
                  <a:spcPts val="0"/>
                </a:spcAft>
                <a:defRPr/>
              </a:pPr>
              <a:endParaRPr lang="ru-RU" sz="2000" b="1">
                <a:solidFill>
                  <a:schemeClr val="bg1"/>
                </a:solidFill>
                <a:latin typeface="+mn-lt"/>
                <a:cs typeface="+mn-cs"/>
              </a:endParaRPr>
            </a:p>
          </p:txBody>
        </p:sp>
        <p:sp>
          <p:nvSpPr>
            <p:cNvPr id="4101" name="AutoShape 12"/>
            <p:cNvSpPr>
              <a:spLocks noChangeArrowheads="1"/>
            </p:cNvSpPr>
            <p:nvPr/>
          </p:nvSpPr>
          <p:spPr bwMode="gray">
            <a:xfrm>
              <a:off x="1066800" y="2743200"/>
              <a:ext cx="620713" cy="581025"/>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pPr algn="ctr" latinLnBrk="1"/>
              <a:r>
                <a:rPr kumimoji="1" lang="uk-UA" altLang="ko-KR" sz="2000" b="1" dirty="0">
                  <a:solidFill>
                    <a:schemeClr val="bg1"/>
                  </a:solidFill>
                  <a:latin typeface="+mn-lt"/>
                </a:rPr>
                <a:t>1</a:t>
              </a:r>
              <a:endParaRPr kumimoji="1" lang="en-US" altLang="ko-KR" sz="2000" b="1" dirty="0">
                <a:solidFill>
                  <a:schemeClr val="bg1"/>
                </a:solidFill>
                <a:latin typeface="+mn-lt"/>
                <a:ea typeface="Gulim" pitchFamily="34" charset="-127"/>
              </a:endParaRPr>
            </a:p>
          </p:txBody>
        </p:sp>
        <p:sp>
          <p:nvSpPr>
            <p:cNvPr id="4102" name="AutoShape 14">
              <a:hlinkClick r:id="" action="ppaction://noaction"/>
            </p:cNvPr>
            <p:cNvSpPr>
              <a:spLocks noChangeArrowheads="1"/>
            </p:cNvSpPr>
            <p:nvPr/>
          </p:nvSpPr>
          <p:spPr bwMode="gray">
            <a:xfrm>
              <a:off x="1714500" y="2682875"/>
              <a:ext cx="4876800" cy="633413"/>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pPr latinLnBrk="1"/>
              <a:r>
                <a:rPr kumimoji="1" lang="en-US" altLang="ko-KR" sz="2000" b="1" dirty="0">
                  <a:latin typeface="+mn-lt"/>
                  <a:ea typeface="Gulim" pitchFamily="34" charset="-127"/>
                </a:rPr>
                <a:t>Understand Interview Process &amp; its components</a:t>
              </a:r>
            </a:p>
          </p:txBody>
        </p:sp>
        <p:sp>
          <p:nvSpPr>
            <p:cNvPr id="39" name="Rectangle 13"/>
            <p:cNvSpPr>
              <a:spLocks noChangeArrowheads="1"/>
            </p:cNvSpPr>
            <p:nvPr/>
          </p:nvSpPr>
          <p:spPr bwMode="auto">
            <a:xfrm>
              <a:off x="1382713" y="3178175"/>
              <a:ext cx="6035040" cy="4571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ru-RU" sz="2000" baseline="-25000">
                <a:latin typeface="+mn-lt"/>
              </a:endParaRPr>
            </a:p>
          </p:txBody>
        </p:sp>
      </p:grpSp>
      <p:grpSp>
        <p:nvGrpSpPr>
          <p:cNvPr id="7" name="Group 6">
            <a:extLst>
              <a:ext uri="{FF2B5EF4-FFF2-40B4-BE49-F238E27FC236}">
                <a16:creationId xmlns:a16="http://schemas.microsoft.com/office/drawing/2014/main" id="{18063201-4CCB-49F8-9B85-4649887E2AD4}"/>
              </a:ext>
            </a:extLst>
          </p:cNvPr>
          <p:cNvGrpSpPr/>
          <p:nvPr/>
        </p:nvGrpSpPr>
        <p:grpSpPr>
          <a:xfrm>
            <a:off x="1074738" y="4321175"/>
            <a:ext cx="6346190" cy="658813"/>
            <a:chOff x="1074738" y="4321175"/>
            <a:chExt cx="6346190" cy="658813"/>
          </a:xfrm>
        </p:grpSpPr>
        <p:sp>
          <p:nvSpPr>
            <p:cNvPr id="4105" name="AutoShape 21">
              <a:hlinkClick r:id="" action="ppaction://noaction"/>
            </p:cNvPr>
            <p:cNvSpPr>
              <a:spLocks noChangeArrowheads="1"/>
            </p:cNvSpPr>
            <p:nvPr/>
          </p:nvSpPr>
          <p:spPr bwMode="gray">
            <a:xfrm>
              <a:off x="1695450" y="4321175"/>
              <a:ext cx="5329238" cy="633413"/>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pPr latinLnBrk="1"/>
              <a:r>
                <a:rPr kumimoji="1" lang="en-US" altLang="ko-KR" sz="2000" b="1">
                  <a:latin typeface="+mn-lt"/>
                  <a:ea typeface="Gulim" pitchFamily="34" charset="-127"/>
                </a:rPr>
                <a:t>List common questions asked &amp; how to answer them</a:t>
              </a:r>
            </a:p>
          </p:txBody>
        </p:sp>
        <p:sp>
          <p:nvSpPr>
            <p:cNvPr id="4115" name="Oval 64"/>
            <p:cNvSpPr>
              <a:spLocks noChangeArrowheads="1"/>
            </p:cNvSpPr>
            <p:nvPr/>
          </p:nvSpPr>
          <p:spPr bwMode="auto">
            <a:xfrm>
              <a:off x="1128713" y="4362450"/>
              <a:ext cx="517525" cy="517525"/>
            </a:xfrm>
            <a:prstGeom prst="ellipse">
              <a:avLst/>
            </a:pr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ctr"/>
              <a:endParaRPr lang="en-US" sz="2000">
                <a:latin typeface="+mn-lt"/>
              </a:endParaRPr>
            </a:p>
          </p:txBody>
        </p:sp>
        <p:sp>
          <p:nvSpPr>
            <p:cNvPr id="41025" name="Oval 65"/>
            <p:cNvSpPr>
              <a:spLocks noChangeArrowheads="1"/>
            </p:cNvSpPr>
            <p:nvPr/>
          </p:nvSpPr>
          <p:spPr bwMode="auto">
            <a:xfrm flipH="1">
              <a:off x="1184275" y="4384675"/>
              <a:ext cx="404813" cy="303213"/>
            </a:xfrm>
            <a:prstGeom prst="ellipse">
              <a:avLst/>
            </a:prstGeom>
            <a:gradFill rotWithShape="1">
              <a:gsLst>
                <a:gs pos="0">
                  <a:schemeClr val="hlink">
                    <a:gamma/>
                    <a:tint val="14510"/>
                    <a:invGamma/>
                  </a:schemeClr>
                </a:gs>
                <a:gs pos="100000">
                  <a:schemeClr val="hlink"/>
                </a:gs>
              </a:gsLst>
              <a:lin ang="5400000" scaled="1"/>
            </a:gradFill>
            <a:ln w="9525">
              <a:noFill/>
              <a:round/>
              <a:headEnd/>
              <a:tailEnd/>
            </a:ln>
            <a:effectLst/>
          </p:spPr>
          <p:txBody>
            <a:bodyPr wrap="none" anchor="ctr"/>
            <a:lstStyle/>
            <a:p>
              <a:pPr algn="ctr" fontAlgn="auto">
                <a:spcBef>
                  <a:spcPts val="0"/>
                </a:spcBef>
                <a:spcAft>
                  <a:spcPts val="0"/>
                </a:spcAft>
                <a:defRPr/>
              </a:pPr>
              <a:endParaRPr lang="ru-RU" sz="2000" b="1">
                <a:solidFill>
                  <a:schemeClr val="bg1"/>
                </a:solidFill>
                <a:latin typeface="+mn-lt"/>
                <a:cs typeface="+mn-cs"/>
              </a:endParaRPr>
            </a:p>
          </p:txBody>
        </p:sp>
        <p:sp>
          <p:nvSpPr>
            <p:cNvPr id="4117" name="AutoShape 66"/>
            <p:cNvSpPr>
              <a:spLocks noChangeArrowheads="1"/>
            </p:cNvSpPr>
            <p:nvPr/>
          </p:nvSpPr>
          <p:spPr bwMode="gray">
            <a:xfrm>
              <a:off x="1074738" y="4398963"/>
              <a:ext cx="620712" cy="581025"/>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pPr algn="ctr" latinLnBrk="1"/>
              <a:r>
                <a:rPr kumimoji="1" lang="ru-RU" altLang="ko-KR" sz="2000" b="1">
                  <a:solidFill>
                    <a:schemeClr val="bg1"/>
                  </a:solidFill>
                  <a:latin typeface="+mn-lt"/>
                </a:rPr>
                <a:t>4</a:t>
              </a:r>
              <a:endParaRPr kumimoji="1" lang="en-US" altLang="ko-KR" sz="2000" b="1">
                <a:solidFill>
                  <a:schemeClr val="bg1"/>
                </a:solidFill>
                <a:latin typeface="+mn-lt"/>
                <a:ea typeface="Gulim" pitchFamily="34" charset="-127"/>
              </a:endParaRPr>
            </a:p>
          </p:txBody>
        </p:sp>
        <p:sp>
          <p:nvSpPr>
            <p:cNvPr id="40" name="Rectangle 26"/>
            <p:cNvSpPr>
              <a:spLocks noChangeArrowheads="1"/>
            </p:cNvSpPr>
            <p:nvPr/>
          </p:nvSpPr>
          <p:spPr bwMode="auto">
            <a:xfrm>
              <a:off x="1385888" y="4838700"/>
              <a:ext cx="6035040" cy="45719"/>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ru-RU" sz="2000" baseline="-25000">
                <a:latin typeface="+mn-lt"/>
              </a:endParaRPr>
            </a:p>
          </p:txBody>
        </p:sp>
      </p:grpSp>
      <p:grpSp>
        <p:nvGrpSpPr>
          <p:cNvPr id="5" name="Group 4">
            <a:extLst>
              <a:ext uri="{FF2B5EF4-FFF2-40B4-BE49-F238E27FC236}">
                <a16:creationId xmlns:a16="http://schemas.microsoft.com/office/drawing/2014/main" id="{D046132F-D83E-4D6E-8AF8-678F37DD8F72}"/>
              </a:ext>
            </a:extLst>
          </p:cNvPr>
          <p:cNvGrpSpPr/>
          <p:nvPr/>
        </p:nvGrpSpPr>
        <p:grpSpPr>
          <a:xfrm>
            <a:off x="1074738" y="3251200"/>
            <a:ext cx="6343015" cy="633413"/>
            <a:chOff x="1074738" y="3251200"/>
            <a:chExt cx="6343015" cy="633413"/>
          </a:xfrm>
        </p:grpSpPr>
        <p:sp>
          <p:nvSpPr>
            <p:cNvPr id="4103" name="AutoShape 19">
              <a:hlinkClick r:id="" action="ppaction://noaction"/>
            </p:cNvPr>
            <p:cNvSpPr>
              <a:spLocks noChangeArrowheads="1"/>
            </p:cNvSpPr>
            <p:nvPr/>
          </p:nvSpPr>
          <p:spPr bwMode="gray">
            <a:xfrm>
              <a:off x="1685925" y="3251200"/>
              <a:ext cx="4876800" cy="633413"/>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pPr latinLnBrk="1"/>
              <a:r>
                <a:rPr kumimoji="1" lang="en-US" altLang="ko-KR" sz="2000" b="1" dirty="0">
                  <a:latin typeface="+mn-lt"/>
                  <a:ea typeface="Gulim" pitchFamily="34" charset="-127"/>
                </a:rPr>
                <a:t>Understand what interviewers look for</a:t>
              </a:r>
            </a:p>
          </p:txBody>
        </p:sp>
        <p:sp>
          <p:nvSpPr>
            <p:cNvPr id="4109" name="Oval 58"/>
            <p:cNvSpPr>
              <a:spLocks noChangeArrowheads="1"/>
            </p:cNvSpPr>
            <p:nvPr/>
          </p:nvSpPr>
          <p:spPr bwMode="auto">
            <a:xfrm>
              <a:off x="1128713" y="3297238"/>
              <a:ext cx="517525" cy="51752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ctr"/>
              <a:endParaRPr lang="en-US" sz="2000">
                <a:latin typeface="+mn-lt"/>
              </a:endParaRPr>
            </a:p>
          </p:txBody>
        </p:sp>
        <p:sp>
          <p:nvSpPr>
            <p:cNvPr id="41019" name="Oval 59"/>
            <p:cNvSpPr>
              <a:spLocks noChangeArrowheads="1"/>
            </p:cNvSpPr>
            <p:nvPr/>
          </p:nvSpPr>
          <p:spPr bwMode="auto">
            <a:xfrm flipH="1">
              <a:off x="1184275" y="3305175"/>
              <a:ext cx="404813" cy="303213"/>
            </a:xfrm>
            <a:prstGeom prst="ellipse">
              <a:avLst/>
            </a:prstGeom>
            <a:gradFill rotWithShape="1">
              <a:gsLst>
                <a:gs pos="0">
                  <a:schemeClr val="accent1">
                    <a:gamma/>
                    <a:tint val="0"/>
                    <a:invGamma/>
                  </a:schemeClr>
                </a:gs>
                <a:gs pos="100000">
                  <a:schemeClr val="accent1"/>
                </a:gs>
              </a:gsLst>
              <a:lin ang="5400000" scaled="1"/>
            </a:gradFill>
            <a:ln w="9525">
              <a:noFill/>
              <a:round/>
              <a:headEnd/>
              <a:tailEnd/>
            </a:ln>
            <a:effectLst/>
          </p:spPr>
          <p:txBody>
            <a:bodyPr wrap="none" anchor="ctr"/>
            <a:lstStyle/>
            <a:p>
              <a:pPr algn="ctr" fontAlgn="auto">
                <a:spcBef>
                  <a:spcPts val="0"/>
                </a:spcBef>
                <a:spcAft>
                  <a:spcPts val="0"/>
                </a:spcAft>
                <a:defRPr/>
              </a:pPr>
              <a:endParaRPr lang="ru-RU" sz="2000" b="1">
                <a:solidFill>
                  <a:schemeClr val="bg1"/>
                </a:solidFill>
                <a:latin typeface="+mn-lt"/>
                <a:cs typeface="+mn-cs"/>
              </a:endParaRPr>
            </a:p>
          </p:txBody>
        </p:sp>
        <p:sp>
          <p:nvSpPr>
            <p:cNvPr id="4111" name="AutoShape 60"/>
            <p:cNvSpPr>
              <a:spLocks noChangeArrowheads="1"/>
            </p:cNvSpPr>
            <p:nvPr/>
          </p:nvSpPr>
          <p:spPr bwMode="gray">
            <a:xfrm>
              <a:off x="1074738" y="3265488"/>
              <a:ext cx="620712" cy="581025"/>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pPr algn="ctr" latinLnBrk="1"/>
              <a:r>
                <a:rPr kumimoji="1" lang="uk-UA" altLang="ko-KR" sz="2000" b="1" dirty="0">
                  <a:solidFill>
                    <a:schemeClr val="bg1"/>
                  </a:solidFill>
                  <a:latin typeface="+mn-lt"/>
                </a:rPr>
                <a:t>2</a:t>
              </a:r>
              <a:endParaRPr kumimoji="1" lang="en-US" altLang="ko-KR" sz="2000" b="1" dirty="0">
                <a:solidFill>
                  <a:schemeClr val="bg1"/>
                </a:solidFill>
                <a:latin typeface="+mn-lt"/>
                <a:ea typeface="Gulim" pitchFamily="34" charset="-127"/>
              </a:endParaRPr>
            </a:p>
          </p:txBody>
        </p:sp>
        <p:sp>
          <p:nvSpPr>
            <p:cNvPr id="41" name="Rectangle 56"/>
            <p:cNvSpPr>
              <a:spLocks noChangeArrowheads="1"/>
            </p:cNvSpPr>
            <p:nvPr/>
          </p:nvSpPr>
          <p:spPr bwMode="auto">
            <a:xfrm>
              <a:off x="1382713" y="3776663"/>
              <a:ext cx="6035040" cy="4571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ru-RU" sz="2000" baseline="-25000">
                <a:latin typeface="+mn-lt"/>
              </a:endParaRPr>
            </a:p>
          </p:txBody>
        </p:sp>
      </p:grpSp>
      <p:grpSp>
        <p:nvGrpSpPr>
          <p:cNvPr id="6" name="Group 5">
            <a:extLst>
              <a:ext uri="{FF2B5EF4-FFF2-40B4-BE49-F238E27FC236}">
                <a16:creationId xmlns:a16="http://schemas.microsoft.com/office/drawing/2014/main" id="{C540F9AA-D982-4518-9C56-929D987B57EB}"/>
              </a:ext>
            </a:extLst>
          </p:cNvPr>
          <p:cNvGrpSpPr/>
          <p:nvPr/>
        </p:nvGrpSpPr>
        <p:grpSpPr>
          <a:xfrm>
            <a:off x="1074738" y="3787775"/>
            <a:ext cx="6343015" cy="633413"/>
            <a:chOff x="1074738" y="3787775"/>
            <a:chExt cx="6343015" cy="633413"/>
          </a:xfrm>
        </p:grpSpPr>
        <p:sp>
          <p:nvSpPr>
            <p:cNvPr id="4104" name="AutoShape 20">
              <a:hlinkClick r:id="" action="ppaction://noaction"/>
            </p:cNvPr>
            <p:cNvSpPr>
              <a:spLocks noChangeArrowheads="1"/>
            </p:cNvSpPr>
            <p:nvPr/>
          </p:nvSpPr>
          <p:spPr bwMode="gray">
            <a:xfrm>
              <a:off x="1685925" y="3787775"/>
              <a:ext cx="4854575" cy="633413"/>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pPr latinLnBrk="1"/>
              <a:r>
                <a:rPr kumimoji="1" lang="en-US" altLang="ko-KR" sz="2000" b="1" dirty="0">
                  <a:latin typeface="+mn-lt"/>
                  <a:ea typeface="Gulim" pitchFamily="34" charset="-127"/>
                </a:rPr>
                <a:t>List &amp; Understand Types of Interviews</a:t>
              </a:r>
            </a:p>
          </p:txBody>
        </p:sp>
        <p:sp>
          <p:nvSpPr>
            <p:cNvPr id="4112" name="Oval 61"/>
            <p:cNvSpPr>
              <a:spLocks noChangeArrowheads="1"/>
            </p:cNvSpPr>
            <p:nvPr/>
          </p:nvSpPr>
          <p:spPr bwMode="auto">
            <a:xfrm>
              <a:off x="1128713" y="3832225"/>
              <a:ext cx="517525" cy="5175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ctr"/>
              <a:endParaRPr lang="en-US" sz="2000">
                <a:latin typeface="+mn-lt"/>
              </a:endParaRPr>
            </a:p>
          </p:txBody>
        </p:sp>
        <p:sp>
          <p:nvSpPr>
            <p:cNvPr id="41022" name="Oval 62"/>
            <p:cNvSpPr>
              <a:spLocks noChangeArrowheads="1"/>
            </p:cNvSpPr>
            <p:nvPr/>
          </p:nvSpPr>
          <p:spPr bwMode="auto">
            <a:xfrm flipH="1">
              <a:off x="1184275" y="3840163"/>
              <a:ext cx="404813" cy="303212"/>
            </a:xfrm>
            <a:prstGeom prst="ellipse">
              <a:avLst/>
            </a:prstGeom>
            <a:gradFill rotWithShape="1">
              <a:gsLst>
                <a:gs pos="0">
                  <a:schemeClr val="accent2">
                    <a:gamma/>
                    <a:tint val="0"/>
                    <a:invGamma/>
                  </a:schemeClr>
                </a:gs>
                <a:gs pos="100000">
                  <a:schemeClr val="accent2"/>
                </a:gs>
              </a:gsLst>
              <a:lin ang="5400000" scaled="1"/>
            </a:gradFill>
            <a:ln w="9525">
              <a:noFill/>
              <a:round/>
              <a:headEnd/>
              <a:tailEnd/>
            </a:ln>
            <a:effectLst/>
          </p:spPr>
          <p:txBody>
            <a:bodyPr wrap="none" anchor="ctr"/>
            <a:lstStyle/>
            <a:p>
              <a:pPr algn="ctr" fontAlgn="auto">
                <a:spcBef>
                  <a:spcPts val="0"/>
                </a:spcBef>
                <a:spcAft>
                  <a:spcPts val="0"/>
                </a:spcAft>
                <a:defRPr/>
              </a:pPr>
              <a:endParaRPr lang="ru-RU" sz="2000" b="1">
                <a:solidFill>
                  <a:schemeClr val="bg1"/>
                </a:solidFill>
                <a:latin typeface="+mn-lt"/>
                <a:cs typeface="+mn-cs"/>
              </a:endParaRPr>
            </a:p>
          </p:txBody>
        </p:sp>
        <p:sp>
          <p:nvSpPr>
            <p:cNvPr id="4114" name="AutoShape 63"/>
            <p:cNvSpPr>
              <a:spLocks noChangeArrowheads="1"/>
            </p:cNvSpPr>
            <p:nvPr/>
          </p:nvSpPr>
          <p:spPr bwMode="gray">
            <a:xfrm>
              <a:off x="1074738" y="3800475"/>
              <a:ext cx="620712" cy="581025"/>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pPr algn="ctr" latinLnBrk="1"/>
              <a:r>
                <a:rPr kumimoji="1" lang="uk-UA" altLang="ko-KR" sz="2000" b="1" dirty="0">
                  <a:solidFill>
                    <a:schemeClr val="bg1"/>
                  </a:solidFill>
                  <a:latin typeface="+mn-lt"/>
                </a:rPr>
                <a:t>3</a:t>
              </a:r>
              <a:endParaRPr kumimoji="1" lang="en-US" altLang="ko-KR" sz="2000" b="1" dirty="0">
                <a:solidFill>
                  <a:schemeClr val="bg1"/>
                </a:solidFill>
                <a:latin typeface="+mn-lt"/>
                <a:ea typeface="Gulim" pitchFamily="34" charset="-127"/>
              </a:endParaRPr>
            </a:p>
          </p:txBody>
        </p:sp>
        <p:sp>
          <p:nvSpPr>
            <p:cNvPr id="42" name="Rectangle 57"/>
            <p:cNvSpPr>
              <a:spLocks noChangeArrowheads="1"/>
            </p:cNvSpPr>
            <p:nvPr/>
          </p:nvSpPr>
          <p:spPr bwMode="auto">
            <a:xfrm>
              <a:off x="1382713" y="4314825"/>
              <a:ext cx="6035040" cy="4571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ru-RU" sz="2000" baseline="-25000">
                <a:latin typeface="+mn-lt"/>
              </a:endParaRPr>
            </a:p>
          </p:txBody>
        </p:sp>
      </p:grpSp>
      <p:grpSp>
        <p:nvGrpSpPr>
          <p:cNvPr id="8" name="Group 7">
            <a:extLst>
              <a:ext uri="{FF2B5EF4-FFF2-40B4-BE49-F238E27FC236}">
                <a16:creationId xmlns:a16="http://schemas.microsoft.com/office/drawing/2014/main" id="{BAF9F2FE-A67E-470C-B503-50D133C02F8A}"/>
              </a:ext>
            </a:extLst>
          </p:cNvPr>
          <p:cNvGrpSpPr/>
          <p:nvPr/>
        </p:nvGrpSpPr>
        <p:grpSpPr>
          <a:xfrm>
            <a:off x="1066800" y="4854575"/>
            <a:ext cx="6629400" cy="633413"/>
            <a:chOff x="1066800" y="4854575"/>
            <a:chExt cx="6629400" cy="633413"/>
          </a:xfrm>
        </p:grpSpPr>
        <p:sp>
          <p:nvSpPr>
            <p:cNvPr id="4120" name="Oval 8"/>
            <p:cNvSpPr>
              <a:spLocks noChangeArrowheads="1"/>
            </p:cNvSpPr>
            <p:nvPr/>
          </p:nvSpPr>
          <p:spPr bwMode="auto">
            <a:xfrm>
              <a:off x="1128713" y="4911725"/>
              <a:ext cx="517525" cy="517525"/>
            </a:xfrm>
            <a:prstGeom prst="ellipse">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ctr"/>
              <a:endParaRPr lang="ru-RU" sz="2000">
                <a:solidFill>
                  <a:srgbClr val="FFFF00"/>
                </a:solidFill>
                <a:latin typeface="+mn-lt"/>
              </a:endParaRPr>
            </a:p>
          </p:txBody>
        </p:sp>
        <p:sp>
          <p:nvSpPr>
            <p:cNvPr id="26" name="Oval 9"/>
            <p:cNvSpPr>
              <a:spLocks noChangeArrowheads="1"/>
            </p:cNvSpPr>
            <p:nvPr/>
          </p:nvSpPr>
          <p:spPr bwMode="auto">
            <a:xfrm flipH="1">
              <a:off x="1187450" y="4918075"/>
              <a:ext cx="404813" cy="303213"/>
            </a:xfrm>
            <a:prstGeom prst="ellipse">
              <a:avLst/>
            </a:prstGeom>
            <a:gradFill rotWithShape="1">
              <a:gsLst>
                <a:gs pos="0">
                  <a:schemeClr val="bg2">
                    <a:gamma/>
                    <a:tint val="0"/>
                    <a:invGamma/>
                  </a:schemeClr>
                </a:gs>
                <a:gs pos="100000">
                  <a:schemeClr val="bg2"/>
                </a:gs>
              </a:gsLst>
              <a:lin ang="5400000" scaled="1"/>
            </a:gradFill>
            <a:ln w="9525">
              <a:noFill/>
              <a:round/>
              <a:headEnd/>
              <a:tailEnd/>
            </a:ln>
            <a:effectLst/>
          </p:spPr>
          <p:txBody>
            <a:bodyPr wrap="none" anchor="ctr"/>
            <a:lstStyle/>
            <a:p>
              <a:pPr algn="ctr" fontAlgn="auto">
                <a:spcBef>
                  <a:spcPts val="0"/>
                </a:spcBef>
                <a:spcAft>
                  <a:spcPts val="0"/>
                </a:spcAft>
                <a:defRPr/>
              </a:pPr>
              <a:endParaRPr lang="ru-RU" sz="2000" b="1">
                <a:solidFill>
                  <a:schemeClr val="bg1"/>
                </a:solidFill>
                <a:latin typeface="+mn-lt"/>
                <a:cs typeface="+mn-cs"/>
              </a:endParaRPr>
            </a:p>
          </p:txBody>
        </p:sp>
        <p:sp>
          <p:nvSpPr>
            <p:cNvPr id="4122" name="AutoShape 12"/>
            <p:cNvSpPr>
              <a:spLocks noChangeArrowheads="1"/>
            </p:cNvSpPr>
            <p:nvPr/>
          </p:nvSpPr>
          <p:spPr bwMode="gray">
            <a:xfrm>
              <a:off x="1066800" y="4854575"/>
              <a:ext cx="620713" cy="581025"/>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pPr algn="ctr" latinLnBrk="1"/>
              <a:r>
                <a:rPr kumimoji="1" lang="en-US" altLang="ko-KR" sz="2000" b="1">
                  <a:solidFill>
                    <a:schemeClr val="bg1"/>
                  </a:solidFill>
                  <a:latin typeface="+mn-lt"/>
                </a:rPr>
                <a:t>5</a:t>
              </a:r>
              <a:endParaRPr kumimoji="1" lang="en-US" altLang="ko-KR" sz="2000" b="1">
                <a:solidFill>
                  <a:schemeClr val="bg1"/>
                </a:solidFill>
                <a:latin typeface="+mn-lt"/>
                <a:ea typeface="Gulim" pitchFamily="34" charset="-127"/>
              </a:endParaRPr>
            </a:p>
          </p:txBody>
        </p:sp>
        <p:sp>
          <p:nvSpPr>
            <p:cNvPr id="4133" name="AutoShape 14">
              <a:hlinkClick r:id="" action="ppaction://noaction"/>
            </p:cNvPr>
            <p:cNvSpPr>
              <a:spLocks noChangeArrowheads="1"/>
            </p:cNvSpPr>
            <p:nvPr/>
          </p:nvSpPr>
          <p:spPr bwMode="gray">
            <a:xfrm>
              <a:off x="1714500" y="4854575"/>
              <a:ext cx="5981700" cy="633413"/>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pPr latinLnBrk="1"/>
              <a:r>
                <a:rPr kumimoji="1" lang="en-US" altLang="ko-KR" sz="2000" b="1">
                  <a:latin typeface="+mn-lt"/>
                  <a:ea typeface="Gulim" pitchFamily="34" charset="-127"/>
                </a:rPr>
                <a:t>Understand Dressing up for Success</a:t>
              </a:r>
            </a:p>
          </p:txBody>
        </p:sp>
        <p:sp>
          <p:nvSpPr>
            <p:cNvPr id="43" name="Rectangle 13"/>
            <p:cNvSpPr>
              <a:spLocks noChangeArrowheads="1"/>
            </p:cNvSpPr>
            <p:nvPr/>
          </p:nvSpPr>
          <p:spPr bwMode="auto">
            <a:xfrm>
              <a:off x="1382713" y="5394325"/>
              <a:ext cx="6035040" cy="4571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ru-RU" sz="2000" baseline="-25000">
                <a:latin typeface="+mn-lt"/>
              </a:endParaRPr>
            </a:p>
          </p:txBody>
        </p:sp>
      </p:grpSp>
      <p:grpSp>
        <p:nvGrpSpPr>
          <p:cNvPr id="9" name="Group 8">
            <a:extLst>
              <a:ext uri="{FF2B5EF4-FFF2-40B4-BE49-F238E27FC236}">
                <a16:creationId xmlns:a16="http://schemas.microsoft.com/office/drawing/2014/main" id="{8B90F628-7B3C-45AD-B830-75CAA77953DE}"/>
              </a:ext>
            </a:extLst>
          </p:cNvPr>
          <p:cNvGrpSpPr/>
          <p:nvPr/>
        </p:nvGrpSpPr>
        <p:grpSpPr>
          <a:xfrm>
            <a:off x="1074738" y="5410200"/>
            <a:ext cx="6343015" cy="649288"/>
            <a:chOff x="1074738" y="5410200"/>
            <a:chExt cx="6343015" cy="649288"/>
          </a:xfrm>
        </p:grpSpPr>
        <p:sp>
          <p:nvSpPr>
            <p:cNvPr id="4124" name="Oval 58"/>
            <p:cNvSpPr>
              <a:spLocks noChangeArrowheads="1"/>
            </p:cNvSpPr>
            <p:nvPr/>
          </p:nvSpPr>
          <p:spPr bwMode="auto">
            <a:xfrm>
              <a:off x="1128713" y="5484813"/>
              <a:ext cx="517525" cy="517525"/>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ctr"/>
              <a:endParaRPr lang="en-US" sz="2000">
                <a:latin typeface="+mn-lt"/>
              </a:endParaRPr>
            </a:p>
          </p:txBody>
        </p:sp>
        <p:sp>
          <p:nvSpPr>
            <p:cNvPr id="32" name="Oval 59"/>
            <p:cNvSpPr>
              <a:spLocks noChangeArrowheads="1"/>
            </p:cNvSpPr>
            <p:nvPr/>
          </p:nvSpPr>
          <p:spPr bwMode="auto">
            <a:xfrm flipH="1">
              <a:off x="1184275" y="5492750"/>
              <a:ext cx="404813" cy="303213"/>
            </a:xfrm>
            <a:prstGeom prst="ellipse">
              <a:avLst/>
            </a:prstGeom>
            <a:gradFill rotWithShape="1">
              <a:gsLst>
                <a:gs pos="0">
                  <a:schemeClr val="accent1">
                    <a:gamma/>
                    <a:tint val="0"/>
                    <a:invGamma/>
                  </a:schemeClr>
                </a:gs>
                <a:gs pos="100000">
                  <a:schemeClr val="accent1"/>
                </a:gs>
              </a:gsLst>
              <a:lin ang="5400000" scaled="1"/>
            </a:gradFill>
            <a:ln w="9525">
              <a:noFill/>
              <a:round/>
              <a:headEnd/>
              <a:tailEnd/>
            </a:ln>
            <a:effectLst/>
          </p:spPr>
          <p:txBody>
            <a:bodyPr wrap="none" anchor="ctr"/>
            <a:lstStyle/>
            <a:p>
              <a:pPr algn="ctr" fontAlgn="auto">
                <a:spcBef>
                  <a:spcPts val="0"/>
                </a:spcBef>
                <a:spcAft>
                  <a:spcPts val="0"/>
                </a:spcAft>
                <a:defRPr/>
              </a:pPr>
              <a:endParaRPr lang="ru-RU" sz="2000" b="1">
                <a:solidFill>
                  <a:schemeClr val="bg1"/>
                </a:solidFill>
                <a:latin typeface="+mn-lt"/>
                <a:cs typeface="+mn-cs"/>
              </a:endParaRPr>
            </a:p>
          </p:txBody>
        </p:sp>
        <p:sp>
          <p:nvSpPr>
            <p:cNvPr id="4126" name="AutoShape 60"/>
            <p:cNvSpPr>
              <a:spLocks noChangeArrowheads="1"/>
            </p:cNvSpPr>
            <p:nvPr/>
          </p:nvSpPr>
          <p:spPr bwMode="gray">
            <a:xfrm>
              <a:off x="1074738" y="5478463"/>
              <a:ext cx="620712" cy="581025"/>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pPr algn="ctr" latinLnBrk="1"/>
              <a:r>
                <a:rPr kumimoji="1" lang="en-US" altLang="ko-KR" sz="2000" b="1">
                  <a:solidFill>
                    <a:schemeClr val="bg1"/>
                  </a:solidFill>
                  <a:latin typeface="+mn-lt"/>
                </a:rPr>
                <a:t>6</a:t>
              </a:r>
              <a:endParaRPr kumimoji="1" lang="en-US" altLang="ko-KR" sz="2000" b="1">
                <a:solidFill>
                  <a:schemeClr val="bg1"/>
                </a:solidFill>
                <a:latin typeface="+mn-lt"/>
                <a:ea typeface="Gulim" pitchFamily="34" charset="-127"/>
              </a:endParaRPr>
            </a:p>
          </p:txBody>
        </p:sp>
        <p:sp>
          <p:nvSpPr>
            <p:cNvPr id="4127" name="AutoShape 20">
              <a:hlinkClick r:id="" action="ppaction://noaction"/>
            </p:cNvPr>
            <p:cNvSpPr>
              <a:spLocks noChangeArrowheads="1"/>
            </p:cNvSpPr>
            <p:nvPr/>
          </p:nvSpPr>
          <p:spPr bwMode="gray">
            <a:xfrm>
              <a:off x="1677988" y="5410200"/>
              <a:ext cx="4854575" cy="633413"/>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pPr latinLnBrk="1"/>
              <a:r>
                <a:rPr kumimoji="1" lang="en-US" altLang="ko-KR" sz="2000" b="1" dirty="0">
                  <a:latin typeface="+mn-lt"/>
                  <a:ea typeface="Gulim" pitchFamily="34" charset="-127"/>
                </a:rPr>
                <a:t>Tips on Facing Interviews</a:t>
              </a:r>
            </a:p>
          </p:txBody>
        </p:sp>
        <p:sp>
          <p:nvSpPr>
            <p:cNvPr id="44" name="Rectangle 56"/>
            <p:cNvSpPr>
              <a:spLocks noChangeArrowheads="1"/>
            </p:cNvSpPr>
            <p:nvPr/>
          </p:nvSpPr>
          <p:spPr bwMode="auto">
            <a:xfrm>
              <a:off x="1382713" y="5989638"/>
              <a:ext cx="6035040" cy="4571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ru-RU" sz="2000" baseline="-25000">
                <a:latin typeface="+mn-lt"/>
              </a:endParaRPr>
            </a:p>
          </p:txBody>
        </p:sp>
      </p:grpSp>
      <p:grpSp>
        <p:nvGrpSpPr>
          <p:cNvPr id="10" name="Group 9">
            <a:extLst>
              <a:ext uri="{FF2B5EF4-FFF2-40B4-BE49-F238E27FC236}">
                <a16:creationId xmlns:a16="http://schemas.microsoft.com/office/drawing/2014/main" id="{3776C299-B033-4C36-84AD-95AC4045AA5B}"/>
              </a:ext>
            </a:extLst>
          </p:cNvPr>
          <p:cNvGrpSpPr/>
          <p:nvPr/>
        </p:nvGrpSpPr>
        <p:grpSpPr>
          <a:xfrm>
            <a:off x="1066800" y="5995988"/>
            <a:ext cx="6343014" cy="633412"/>
            <a:chOff x="1066800" y="5995988"/>
            <a:chExt cx="6343014" cy="633412"/>
          </a:xfrm>
        </p:grpSpPr>
        <p:sp>
          <p:nvSpPr>
            <p:cNvPr id="4129" name="Oval 61"/>
            <p:cNvSpPr>
              <a:spLocks noChangeArrowheads="1"/>
            </p:cNvSpPr>
            <p:nvPr/>
          </p:nvSpPr>
          <p:spPr bwMode="auto">
            <a:xfrm>
              <a:off x="1120775" y="6040438"/>
              <a:ext cx="517525" cy="517525"/>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ctr"/>
              <a:endParaRPr lang="en-US" sz="2000">
                <a:latin typeface="+mn-lt"/>
              </a:endParaRPr>
            </a:p>
          </p:txBody>
        </p:sp>
        <p:sp>
          <p:nvSpPr>
            <p:cNvPr id="37" name="Oval 62"/>
            <p:cNvSpPr>
              <a:spLocks noChangeArrowheads="1"/>
            </p:cNvSpPr>
            <p:nvPr/>
          </p:nvSpPr>
          <p:spPr bwMode="auto">
            <a:xfrm flipH="1">
              <a:off x="1176338" y="6048375"/>
              <a:ext cx="404812" cy="303213"/>
            </a:xfrm>
            <a:prstGeom prst="ellipse">
              <a:avLst/>
            </a:prstGeom>
            <a:gradFill rotWithShape="1">
              <a:gsLst>
                <a:gs pos="0">
                  <a:schemeClr val="accent2">
                    <a:gamma/>
                    <a:tint val="0"/>
                    <a:invGamma/>
                  </a:schemeClr>
                </a:gs>
                <a:gs pos="100000">
                  <a:schemeClr val="accent2"/>
                </a:gs>
              </a:gsLst>
              <a:lin ang="5400000" scaled="1"/>
            </a:gradFill>
            <a:ln w="9525">
              <a:noFill/>
              <a:round/>
              <a:headEnd/>
              <a:tailEnd/>
            </a:ln>
            <a:effectLst/>
          </p:spPr>
          <p:txBody>
            <a:bodyPr wrap="none" anchor="ctr"/>
            <a:lstStyle/>
            <a:p>
              <a:pPr algn="ctr" fontAlgn="auto">
                <a:spcBef>
                  <a:spcPts val="0"/>
                </a:spcBef>
                <a:spcAft>
                  <a:spcPts val="0"/>
                </a:spcAft>
                <a:defRPr/>
              </a:pPr>
              <a:endParaRPr lang="ru-RU" sz="2000" b="1">
                <a:solidFill>
                  <a:schemeClr val="bg1"/>
                </a:solidFill>
                <a:latin typeface="+mn-lt"/>
                <a:cs typeface="+mn-cs"/>
              </a:endParaRPr>
            </a:p>
          </p:txBody>
        </p:sp>
        <p:sp>
          <p:nvSpPr>
            <p:cNvPr id="4131" name="AutoShape 63"/>
            <p:cNvSpPr>
              <a:spLocks noChangeArrowheads="1"/>
            </p:cNvSpPr>
            <p:nvPr/>
          </p:nvSpPr>
          <p:spPr bwMode="gray">
            <a:xfrm>
              <a:off x="1066800" y="6008688"/>
              <a:ext cx="620713" cy="581025"/>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pPr algn="ctr" latinLnBrk="1"/>
              <a:r>
                <a:rPr kumimoji="1" lang="en-US" altLang="ko-KR" sz="2000" b="1" dirty="0">
                  <a:solidFill>
                    <a:schemeClr val="bg1"/>
                  </a:solidFill>
                  <a:latin typeface="+mn-lt"/>
                </a:rPr>
                <a:t>7</a:t>
              </a:r>
              <a:endParaRPr kumimoji="1" lang="en-US" altLang="ko-KR" sz="2000" b="1" dirty="0">
                <a:solidFill>
                  <a:schemeClr val="bg1"/>
                </a:solidFill>
                <a:latin typeface="+mn-lt"/>
                <a:ea typeface="Gulim" pitchFamily="34" charset="-127"/>
              </a:endParaRPr>
            </a:p>
          </p:txBody>
        </p:sp>
        <p:sp>
          <p:nvSpPr>
            <p:cNvPr id="4132" name="AutoShape 21">
              <a:hlinkClick r:id="" action="ppaction://noaction"/>
            </p:cNvPr>
            <p:cNvSpPr>
              <a:spLocks noChangeArrowheads="1"/>
            </p:cNvSpPr>
            <p:nvPr/>
          </p:nvSpPr>
          <p:spPr bwMode="gray">
            <a:xfrm>
              <a:off x="1687513" y="5995988"/>
              <a:ext cx="5329237" cy="633412"/>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p>
              <a:pPr latinLnBrk="1"/>
              <a:r>
                <a:rPr kumimoji="1" lang="en-US" altLang="ko-KR" sz="2000" b="1">
                  <a:latin typeface="+mn-lt"/>
                  <a:ea typeface="Gulim" pitchFamily="34" charset="-127"/>
                </a:rPr>
                <a:t>Summary</a:t>
              </a:r>
            </a:p>
          </p:txBody>
        </p:sp>
        <p:sp>
          <p:nvSpPr>
            <p:cNvPr id="45" name="Rectangle 57"/>
            <p:cNvSpPr>
              <a:spLocks noChangeArrowheads="1"/>
            </p:cNvSpPr>
            <p:nvPr/>
          </p:nvSpPr>
          <p:spPr bwMode="auto">
            <a:xfrm>
              <a:off x="1374774" y="6523038"/>
              <a:ext cx="6035040" cy="4571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ru-RU" sz="2000" baseline="-25000">
                <a:latin typeface="+mn-lt"/>
              </a:endParaRPr>
            </a:p>
          </p:txBody>
        </p:sp>
      </p:grpSp>
      <p:pic>
        <p:nvPicPr>
          <p:cNvPr id="46" name="Picture 45">
            <a:extLst>
              <a:ext uri="{FF2B5EF4-FFF2-40B4-BE49-F238E27FC236}">
                <a16:creationId xmlns:a16="http://schemas.microsoft.com/office/drawing/2014/main" id="{ACE24B80-DB50-477F-9F22-D1286AF746B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17722" y="44624"/>
            <a:ext cx="1604791" cy="1479376"/>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800" advClick="0" advTm="21000">
        <p:circle/>
      </p:transition>
    </mc:Choice>
    <mc:Fallback xmlns="">
      <p:transition spd="slow" advClick="0" advTm="21000">
        <p:circl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5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par>
                          <p:cTn id="8" fill="hold">
                            <p:stCondLst>
                              <p:cond delay="2500"/>
                            </p:stCondLst>
                            <p:childTnLst>
                              <p:par>
                                <p:cTn id="9" presetID="10" presetClass="entr" presetSubtype="0" fill="hold" nodeType="afterEffect">
                                  <p:stCondLst>
                                    <p:cond delay="3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par>
                          <p:cTn id="12" fill="hold">
                            <p:stCondLst>
                              <p:cond delay="6500"/>
                            </p:stCondLst>
                            <p:childTnLst>
                              <p:par>
                                <p:cTn id="13" presetID="10" presetClass="entr" presetSubtype="0" fill="hold" nodeType="afterEffect">
                                  <p:stCondLst>
                                    <p:cond delay="2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1000"/>
                                        <p:tgtEl>
                                          <p:spTgt spid="6"/>
                                        </p:tgtEl>
                                      </p:cBhvr>
                                    </p:animEffect>
                                  </p:childTnLst>
                                </p:cTn>
                              </p:par>
                            </p:childTnLst>
                          </p:cTn>
                        </p:par>
                        <p:par>
                          <p:cTn id="16" fill="hold">
                            <p:stCondLst>
                              <p:cond delay="9500"/>
                            </p:stCondLst>
                            <p:childTnLst>
                              <p:par>
                                <p:cTn id="17" presetID="10" presetClass="entr" presetSubtype="0" fill="hold" nodeType="afterEffect">
                                  <p:stCondLst>
                                    <p:cond delay="175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childTnLst>
                                </p:cTn>
                              </p:par>
                            </p:childTnLst>
                          </p:cTn>
                        </p:par>
                        <p:par>
                          <p:cTn id="20" fill="hold">
                            <p:stCondLst>
                              <p:cond delay="12250"/>
                            </p:stCondLst>
                            <p:childTnLst>
                              <p:par>
                                <p:cTn id="21" presetID="10" presetClass="entr" presetSubtype="0" fill="hold" nodeType="afterEffect">
                                  <p:stCondLst>
                                    <p:cond delay="225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1000"/>
                                        <p:tgtEl>
                                          <p:spTgt spid="8"/>
                                        </p:tgtEl>
                                      </p:cBhvr>
                                    </p:animEffect>
                                  </p:childTnLst>
                                </p:cTn>
                              </p:par>
                            </p:childTnLst>
                          </p:cTn>
                        </p:par>
                        <p:par>
                          <p:cTn id="24" fill="hold">
                            <p:stCondLst>
                              <p:cond delay="15500"/>
                            </p:stCondLst>
                            <p:childTnLst>
                              <p:par>
                                <p:cTn id="25" presetID="10" presetClass="entr" presetSubtype="0" fill="hold" nodeType="afterEffect">
                                  <p:stCondLst>
                                    <p:cond delay="125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1000"/>
                                        <p:tgtEl>
                                          <p:spTgt spid="9"/>
                                        </p:tgtEl>
                                      </p:cBhvr>
                                    </p:animEffect>
                                  </p:childTnLst>
                                </p:cTn>
                              </p:par>
                            </p:childTnLst>
                          </p:cTn>
                        </p:par>
                        <p:par>
                          <p:cTn id="28" fill="hold">
                            <p:stCondLst>
                              <p:cond delay="17750"/>
                            </p:stCondLst>
                            <p:childTnLst>
                              <p:par>
                                <p:cTn id="29" presetID="10" presetClass="entr" presetSubtype="0" fill="hold" nodeType="afterEffect">
                                  <p:stCondLst>
                                    <p:cond delay="7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46"/>
          <p:cNvSpPr>
            <a:spLocks noChangeArrowheads="1"/>
          </p:cNvSpPr>
          <p:nvPr/>
        </p:nvSpPr>
        <p:spPr bwMode="auto">
          <a:xfrm>
            <a:off x="685800" y="2362200"/>
            <a:ext cx="27432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Arial" pitchFamily="34" charset="0"/>
              </a:rPr>
              <a:t>What is an Interview?</a:t>
            </a:r>
          </a:p>
        </p:txBody>
      </p:sp>
      <p:grpSp>
        <p:nvGrpSpPr>
          <p:cNvPr id="2" name="Group 50"/>
          <p:cNvGrpSpPr>
            <a:grpSpLocks/>
          </p:cNvGrpSpPr>
          <p:nvPr/>
        </p:nvGrpSpPr>
        <p:grpSpPr bwMode="auto">
          <a:xfrm>
            <a:off x="685800" y="2895600"/>
            <a:ext cx="7924800" cy="2801937"/>
            <a:chOff x="685800" y="3198674"/>
            <a:chExt cx="7924800" cy="2802076"/>
          </a:xfrm>
        </p:grpSpPr>
        <p:sp>
          <p:nvSpPr>
            <p:cNvPr id="5127" name="Rectangle 45"/>
            <p:cNvSpPr>
              <a:spLocks noChangeArrowheads="1"/>
            </p:cNvSpPr>
            <p:nvPr/>
          </p:nvSpPr>
          <p:spPr bwMode="auto">
            <a:xfrm>
              <a:off x="685800" y="3198674"/>
              <a:ext cx="5181600" cy="2400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Arial" pitchFamily="34" charset="0"/>
                </a:rPr>
                <a:t>It is more often than not a formal discussion between a hirer and an applicant / candidate, typically in person, in which information is exchanged, with the intention of establishing the applicant’s suitability for a position.</a:t>
              </a:r>
            </a:p>
          </p:txBody>
        </p:sp>
        <p:pic>
          <p:nvPicPr>
            <p:cNvPr id="5128" name="Picture 47" descr="interview-proces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753100" y="3429000"/>
              <a:ext cx="2857500" cy="257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9" name="Rectangle 48"/>
          <p:cNvSpPr>
            <a:spLocks noChangeArrowheads="1"/>
          </p:cNvSpPr>
          <p:nvPr/>
        </p:nvSpPr>
        <p:spPr bwMode="auto">
          <a:xfrm>
            <a:off x="2514600" y="5867400"/>
            <a:ext cx="20574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Arial" pitchFamily="34" charset="0"/>
              </a:rPr>
              <a:t>Sounds simple? </a:t>
            </a:r>
          </a:p>
        </p:txBody>
      </p:sp>
      <p:sp>
        <p:nvSpPr>
          <p:cNvPr id="9" name="TextBox 33"/>
          <p:cNvSpPr txBox="1">
            <a:spLocks noChangeArrowheads="1"/>
          </p:cNvSpPr>
          <p:nvPr/>
        </p:nvSpPr>
        <p:spPr bwMode="auto">
          <a:xfrm>
            <a:off x="685800" y="1905000"/>
            <a:ext cx="555838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a:ea typeface="+mn-ea"/>
                <a:cs typeface="Arial" pitchFamily="34" charset="0"/>
              </a:rPr>
              <a:t>Interview Process &amp; its Components</a:t>
            </a:r>
          </a:p>
        </p:txBody>
      </p:sp>
      <p:pic>
        <p:nvPicPr>
          <p:cNvPr id="10" name="Picture 9">
            <a:extLst>
              <a:ext uri="{FF2B5EF4-FFF2-40B4-BE49-F238E27FC236}">
                <a16:creationId xmlns:a16="http://schemas.microsoft.com/office/drawing/2014/main" id="{974D0C1E-944C-46A8-A881-FE732FCBA36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517722" y="44624"/>
            <a:ext cx="1604791" cy="1479376"/>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p14:dur="10" advClick="0" advTm="18000"/>
    </mc:Choice>
    <mc:Fallback xmlns="">
      <p:transition advClick="0" advTm="18000"/>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49" presetClass="entr" presetSubtype="0" decel="100000" fill="hold" nodeType="afterEffect">
                                  <p:stCondLst>
                                    <p:cond delay="150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 calcmode="lin" valueType="num">
                                      <p:cBhvr>
                                        <p:cTn id="9" dur="1000" fill="hold"/>
                                        <p:tgtEl>
                                          <p:spTgt spid="2"/>
                                        </p:tgtEl>
                                        <p:attrNameLst>
                                          <p:attrName>style.rotation</p:attrName>
                                        </p:attrNameLst>
                                      </p:cBhvr>
                                      <p:tavLst>
                                        <p:tav tm="0">
                                          <p:val>
                                            <p:fltVal val="360"/>
                                          </p:val>
                                        </p:tav>
                                        <p:tav tm="100000">
                                          <p:val>
                                            <p:fltVal val="0"/>
                                          </p:val>
                                        </p:tav>
                                      </p:tavLst>
                                    </p:anim>
                                    <p:animEffect transition="in" filter="fade">
                                      <p:cBhvr>
                                        <p:cTn id="10" dur="1000"/>
                                        <p:tgtEl>
                                          <p:spTgt spid="2"/>
                                        </p:tgtEl>
                                      </p:cBhvr>
                                    </p:animEffect>
                                  </p:childTnLst>
                                </p:cTn>
                              </p:par>
                            </p:childTnLst>
                          </p:cTn>
                        </p:par>
                        <p:par>
                          <p:cTn id="11" fill="hold" nodeType="afterGroup">
                            <p:stCondLst>
                              <p:cond delay="2500"/>
                            </p:stCondLst>
                            <p:childTnLst>
                              <p:par>
                                <p:cTn id="12" presetID="8" presetClass="entr" presetSubtype="16" fill="hold" grpId="0" nodeType="afterEffect">
                                  <p:stCondLst>
                                    <p:cond delay="12000"/>
                                  </p:stCondLst>
                                  <p:childTnLst>
                                    <p:set>
                                      <p:cBhvr>
                                        <p:cTn id="13" dur="1" fill="hold">
                                          <p:stCondLst>
                                            <p:cond delay="0"/>
                                          </p:stCondLst>
                                        </p:cTn>
                                        <p:tgtEl>
                                          <p:spTgt spid="49"/>
                                        </p:tgtEl>
                                        <p:attrNameLst>
                                          <p:attrName>style.visibility</p:attrName>
                                        </p:attrNameLst>
                                      </p:cBhvr>
                                      <p:to>
                                        <p:strVal val="visible"/>
                                      </p:to>
                                    </p:set>
                                    <p:animEffect transition="in" filter="diamond(in)">
                                      <p:cBhvr>
                                        <p:cTn id="14" dur="10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1"/>
          <p:cNvGrpSpPr>
            <a:grpSpLocks/>
          </p:cNvGrpSpPr>
          <p:nvPr/>
        </p:nvGrpSpPr>
        <p:grpSpPr bwMode="auto">
          <a:xfrm>
            <a:off x="156575" y="3318669"/>
            <a:ext cx="3958225" cy="1890712"/>
            <a:chOff x="156575" y="3290455"/>
            <a:chExt cx="3958225" cy="1891145"/>
          </a:xfrm>
        </p:grpSpPr>
        <p:pic>
          <p:nvPicPr>
            <p:cNvPr id="7177" name="Picture 5" descr="job.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81200" y="3290455"/>
              <a:ext cx="2133600" cy="1891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8" name="Rectangle 6"/>
            <p:cNvSpPr>
              <a:spLocks noChangeArrowheads="1"/>
            </p:cNvSpPr>
            <p:nvPr/>
          </p:nvSpPr>
          <p:spPr bwMode="auto">
            <a:xfrm>
              <a:off x="156575" y="3747654"/>
              <a:ext cx="1828800" cy="1323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Arial" pitchFamily="34" charset="0"/>
                </a:rPr>
                <a:t>Let’s try and make your journey from this</a:t>
              </a:r>
            </a:p>
          </p:txBody>
        </p:sp>
      </p:grpSp>
      <p:sp>
        <p:nvSpPr>
          <p:cNvPr id="9" name="Rectangle 8"/>
          <p:cNvSpPr>
            <a:spLocks noChangeArrowheads="1"/>
          </p:cNvSpPr>
          <p:nvPr/>
        </p:nvSpPr>
        <p:spPr bwMode="auto">
          <a:xfrm>
            <a:off x="7315200" y="3886200"/>
            <a:ext cx="152400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Arial" pitchFamily="34" charset="0"/>
              </a:rPr>
              <a:t>Simple &amp; successful</a:t>
            </a:r>
          </a:p>
        </p:txBody>
      </p:sp>
      <p:grpSp>
        <p:nvGrpSpPr>
          <p:cNvPr id="3" name="Group 12"/>
          <p:cNvGrpSpPr>
            <a:grpSpLocks/>
          </p:cNvGrpSpPr>
          <p:nvPr/>
        </p:nvGrpSpPr>
        <p:grpSpPr bwMode="auto">
          <a:xfrm>
            <a:off x="4419600" y="3200400"/>
            <a:ext cx="2667000" cy="2127250"/>
            <a:chOff x="4419600" y="3200400"/>
            <a:chExt cx="2667000" cy="2126512"/>
          </a:xfrm>
        </p:grpSpPr>
        <p:sp>
          <p:nvSpPr>
            <p:cNvPr id="7175" name="Rectangle 4"/>
            <p:cNvSpPr>
              <a:spLocks noChangeArrowheads="1"/>
            </p:cNvSpPr>
            <p:nvPr/>
          </p:nvSpPr>
          <p:spPr bwMode="auto">
            <a:xfrm>
              <a:off x="4419600" y="3976448"/>
              <a:ext cx="914400" cy="399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Arial" pitchFamily="34" charset="0"/>
                </a:rPr>
                <a:t>to this</a:t>
              </a:r>
            </a:p>
          </p:txBody>
        </p:sp>
        <p:pic>
          <p:nvPicPr>
            <p:cNvPr id="7176" name="Picture 10" descr="hired.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257800" y="3200400"/>
              <a:ext cx="1828800" cy="2126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TextBox 33"/>
          <p:cNvSpPr txBox="1">
            <a:spLocks noChangeArrowheads="1"/>
          </p:cNvSpPr>
          <p:nvPr/>
        </p:nvSpPr>
        <p:spPr bwMode="auto">
          <a:xfrm>
            <a:off x="685800" y="1905000"/>
            <a:ext cx="555838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a:ea typeface="+mn-ea"/>
                <a:cs typeface="Arial" pitchFamily="34" charset="0"/>
              </a:rPr>
              <a:t>Interview Process &amp; its Components</a:t>
            </a:r>
          </a:p>
        </p:txBody>
      </p:sp>
      <p:pic>
        <p:nvPicPr>
          <p:cNvPr id="12" name="Picture 11">
            <a:extLst>
              <a:ext uri="{FF2B5EF4-FFF2-40B4-BE49-F238E27FC236}">
                <a16:creationId xmlns:a16="http://schemas.microsoft.com/office/drawing/2014/main" id="{5342FFA3-09B6-4F73-96D2-EDE359E662B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517722" y="44624"/>
            <a:ext cx="1604791" cy="1479376"/>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p14:dur="10" advClick="0" advTm="9000"/>
    </mc:Choice>
    <mc:Fallback xmlns="">
      <p:transition advClick="0" advTm="9000"/>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31" presetClass="entr" presetSubtype="0" fill="hold" nodeType="afterEffect">
                                  <p:stCondLst>
                                    <p:cond delay="500"/>
                                  </p:stCondLst>
                                  <p:iterate type="lt">
                                    <p:tmPct val="5000"/>
                                  </p:iterate>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 calcmode="lin" valueType="num">
                                      <p:cBhvr>
                                        <p:cTn id="9" dur="1000" fill="hold"/>
                                        <p:tgtEl>
                                          <p:spTgt spid="2"/>
                                        </p:tgtEl>
                                        <p:attrNameLst>
                                          <p:attrName>style.rotation</p:attrName>
                                        </p:attrNameLst>
                                      </p:cBhvr>
                                      <p:tavLst>
                                        <p:tav tm="0">
                                          <p:val>
                                            <p:fltVal val="90"/>
                                          </p:val>
                                        </p:tav>
                                        <p:tav tm="100000">
                                          <p:val>
                                            <p:fltVal val="0"/>
                                          </p:val>
                                        </p:tav>
                                      </p:tavLst>
                                    </p:anim>
                                    <p:animEffect transition="in" filter="fade">
                                      <p:cBhvr>
                                        <p:cTn id="10" dur="1000"/>
                                        <p:tgtEl>
                                          <p:spTgt spid="2"/>
                                        </p:tgtEl>
                                      </p:cBhvr>
                                    </p:animEffect>
                                  </p:childTnLst>
                                </p:cTn>
                              </p:par>
                            </p:childTnLst>
                          </p:cTn>
                        </p:par>
                        <p:par>
                          <p:cTn id="11" fill="hold" nodeType="afterGroup">
                            <p:stCondLst>
                              <p:cond delay="1500"/>
                            </p:stCondLst>
                            <p:childTnLst>
                              <p:par>
                                <p:cTn id="12" presetID="31" presetClass="entr" presetSubtype="0" fill="hold" nodeType="afterEffect">
                                  <p:stCondLst>
                                    <p:cond delay="2250"/>
                                  </p:stCondLst>
                                  <p:iterate type="lt">
                                    <p:tmPct val="5000"/>
                                  </p:iterate>
                                  <p:childTnLst>
                                    <p:set>
                                      <p:cBhvr>
                                        <p:cTn id="13" dur="1" fill="hold">
                                          <p:stCondLst>
                                            <p:cond delay="0"/>
                                          </p:stCondLst>
                                        </p:cTn>
                                        <p:tgtEl>
                                          <p:spTgt spid="3"/>
                                        </p:tgtEl>
                                        <p:attrNameLst>
                                          <p:attrName>style.visibility</p:attrName>
                                        </p:attrNameLst>
                                      </p:cBhvr>
                                      <p:to>
                                        <p:strVal val="visible"/>
                                      </p:to>
                                    </p:set>
                                    <p:anim calcmode="lin" valueType="num">
                                      <p:cBhvr>
                                        <p:cTn id="14" dur="1000" fill="hold"/>
                                        <p:tgtEl>
                                          <p:spTgt spid="3"/>
                                        </p:tgtEl>
                                        <p:attrNameLst>
                                          <p:attrName>ppt_w</p:attrName>
                                        </p:attrNameLst>
                                      </p:cBhvr>
                                      <p:tavLst>
                                        <p:tav tm="0">
                                          <p:val>
                                            <p:fltVal val="0"/>
                                          </p:val>
                                        </p:tav>
                                        <p:tav tm="100000">
                                          <p:val>
                                            <p:strVal val="#ppt_w"/>
                                          </p:val>
                                        </p:tav>
                                      </p:tavLst>
                                    </p:anim>
                                    <p:anim calcmode="lin" valueType="num">
                                      <p:cBhvr>
                                        <p:cTn id="15" dur="1000" fill="hold"/>
                                        <p:tgtEl>
                                          <p:spTgt spid="3"/>
                                        </p:tgtEl>
                                        <p:attrNameLst>
                                          <p:attrName>ppt_h</p:attrName>
                                        </p:attrNameLst>
                                      </p:cBhvr>
                                      <p:tavLst>
                                        <p:tav tm="0">
                                          <p:val>
                                            <p:fltVal val="0"/>
                                          </p:val>
                                        </p:tav>
                                        <p:tav tm="100000">
                                          <p:val>
                                            <p:strVal val="#ppt_h"/>
                                          </p:val>
                                        </p:tav>
                                      </p:tavLst>
                                    </p:anim>
                                    <p:anim calcmode="lin" valueType="num">
                                      <p:cBhvr>
                                        <p:cTn id="16" dur="1000" fill="hold"/>
                                        <p:tgtEl>
                                          <p:spTgt spid="3"/>
                                        </p:tgtEl>
                                        <p:attrNameLst>
                                          <p:attrName>style.rotation</p:attrName>
                                        </p:attrNameLst>
                                      </p:cBhvr>
                                      <p:tavLst>
                                        <p:tav tm="0">
                                          <p:val>
                                            <p:fltVal val="90"/>
                                          </p:val>
                                        </p:tav>
                                        <p:tav tm="100000">
                                          <p:val>
                                            <p:fltVal val="0"/>
                                          </p:val>
                                        </p:tav>
                                      </p:tavLst>
                                    </p:anim>
                                    <p:animEffect transition="in" filter="fade">
                                      <p:cBhvr>
                                        <p:cTn id="17" dur="1000"/>
                                        <p:tgtEl>
                                          <p:spTgt spid="3"/>
                                        </p:tgtEl>
                                      </p:cBhvr>
                                    </p:animEffect>
                                  </p:childTnLst>
                                </p:cTn>
                              </p:par>
                            </p:childTnLst>
                          </p:cTn>
                        </p:par>
                        <p:par>
                          <p:cTn id="18" fill="hold" nodeType="afterGroup">
                            <p:stCondLst>
                              <p:cond delay="4750"/>
                            </p:stCondLst>
                            <p:childTnLst>
                              <p:par>
                                <p:cTn id="19" presetID="29" presetClass="entr" presetSubtype="0" fill="hold" grpId="0" nodeType="afterEffect">
                                  <p:stCondLst>
                                    <p:cond delay="250"/>
                                  </p:stCondLst>
                                  <p:childTnLst>
                                    <p:set>
                                      <p:cBhvr>
                                        <p:cTn id="20" dur="1" fill="hold">
                                          <p:stCondLst>
                                            <p:cond delay="0"/>
                                          </p:stCondLst>
                                        </p:cTn>
                                        <p:tgtEl>
                                          <p:spTgt spid="9"/>
                                        </p:tgtEl>
                                        <p:attrNameLst>
                                          <p:attrName>style.visibility</p:attrName>
                                        </p:attrNameLst>
                                      </p:cBhvr>
                                      <p:to>
                                        <p:strVal val="visible"/>
                                      </p:to>
                                    </p:set>
                                    <p:anim calcmode="lin" valueType="num">
                                      <p:cBhvr>
                                        <p:cTn id="21" dur="1000" fill="hold"/>
                                        <p:tgtEl>
                                          <p:spTgt spid="9"/>
                                        </p:tgtEl>
                                        <p:attrNameLst>
                                          <p:attrName>ppt_x</p:attrName>
                                        </p:attrNameLst>
                                      </p:cBhvr>
                                      <p:tavLst>
                                        <p:tav tm="0">
                                          <p:val>
                                            <p:strVal val="#ppt_x-.2"/>
                                          </p:val>
                                        </p:tav>
                                        <p:tav tm="100000">
                                          <p:val>
                                            <p:strVal val="#ppt_x"/>
                                          </p:val>
                                        </p:tav>
                                      </p:tavLst>
                                    </p:anim>
                                    <p:anim calcmode="lin" valueType="num">
                                      <p:cBhvr>
                                        <p:cTn id="22" dur="1000" fill="hold"/>
                                        <p:tgtEl>
                                          <p:spTgt spid="9"/>
                                        </p:tgtEl>
                                        <p:attrNameLst>
                                          <p:attrName>ppt_y</p:attrName>
                                        </p:attrNameLst>
                                      </p:cBhvr>
                                      <p:tavLst>
                                        <p:tav tm="0">
                                          <p:val>
                                            <p:strVal val="#ppt_y"/>
                                          </p:val>
                                        </p:tav>
                                        <p:tav tm="100000">
                                          <p:val>
                                            <p:strVal val="#ppt_y"/>
                                          </p:val>
                                        </p:tav>
                                      </p:tavLst>
                                    </p:anim>
                                    <p:animEffect transition="in" filter="wipe(right)" prLst="gradientSize: 0.1">
                                      <p:cBhvr>
                                        <p:cTn id="23"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2530" name="Rectangle 30"/>
          <p:cNvSpPr>
            <a:spLocks noChangeArrowheads="1"/>
          </p:cNvSpPr>
          <p:nvPr/>
        </p:nvSpPr>
        <p:spPr bwMode="gray">
          <a:xfrm>
            <a:off x="471488" y="-255588"/>
            <a:ext cx="8520112" cy="1000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IN" sz="1800" b="1" i="0" u="none" strike="noStrike" kern="1200" cap="none" spc="0" normalizeH="0" baseline="0" noProof="1">
              <a:ln>
                <a:noFill/>
              </a:ln>
              <a:solidFill>
                <a:prstClr val="black"/>
              </a:solidFill>
              <a:effectLst/>
              <a:uLnTx/>
              <a:uFillTx/>
              <a:latin typeface="Calibri" pitchFamily="34" charset="0"/>
              <a:ea typeface="+mn-ea"/>
              <a:cs typeface="Arial" pitchFamily="34" charset="0"/>
            </a:endParaRPr>
          </a:p>
        </p:txBody>
      </p:sp>
      <p:sp>
        <p:nvSpPr>
          <p:cNvPr id="22531" name="Rectangle 12"/>
          <p:cNvSpPr>
            <a:spLocks noChangeArrowheads="1"/>
          </p:cNvSpPr>
          <p:nvPr/>
        </p:nvSpPr>
        <p:spPr bwMode="gray">
          <a:xfrm>
            <a:off x="623888" y="325438"/>
            <a:ext cx="852011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2000" b="1" i="0" u="none" strike="noStrike" kern="1200" cap="none" spc="0" normalizeH="0" baseline="0" noProof="1">
              <a:ln>
                <a:noFill/>
              </a:ln>
              <a:solidFill>
                <a:prstClr val="black"/>
              </a:solidFill>
              <a:effectLst/>
              <a:uLnTx/>
              <a:uFillTx/>
              <a:latin typeface="Calibri" pitchFamily="34" charset="0"/>
              <a:ea typeface="+mn-ea"/>
              <a:cs typeface="Arial" pitchFamily="34" charset="0"/>
            </a:endParaRPr>
          </a:p>
        </p:txBody>
      </p:sp>
      <p:grpSp>
        <p:nvGrpSpPr>
          <p:cNvPr id="2" name="Group 14"/>
          <p:cNvGrpSpPr>
            <a:grpSpLocks/>
          </p:cNvGrpSpPr>
          <p:nvPr/>
        </p:nvGrpSpPr>
        <p:grpSpPr bwMode="auto">
          <a:xfrm>
            <a:off x="2286000" y="3886200"/>
            <a:ext cx="3606589" cy="2388801"/>
            <a:chOff x="7" y="2013"/>
            <a:chExt cx="2663" cy="1818"/>
          </a:xfrm>
          <a:solidFill>
            <a:schemeClr val="bg2"/>
          </a:solidFill>
        </p:grpSpPr>
        <p:sp>
          <p:nvSpPr>
            <p:cNvPr id="333839" name="Freeform 41"/>
            <p:cNvSpPr>
              <a:spLocks/>
            </p:cNvSpPr>
            <p:nvPr/>
          </p:nvSpPr>
          <p:spPr bwMode="auto">
            <a:xfrm>
              <a:off x="7" y="2013"/>
              <a:ext cx="2599" cy="1803"/>
            </a:xfrm>
            <a:custGeom>
              <a:avLst/>
              <a:gdLst>
                <a:gd name="T0" fmla="*/ 2147483647 w 1781"/>
                <a:gd name="T1" fmla="*/ 193368391 h 1235"/>
                <a:gd name="T2" fmla="*/ 2147483647 w 1781"/>
                <a:gd name="T3" fmla="*/ 2147483647 h 1235"/>
                <a:gd name="T4" fmla="*/ 2147483647 w 1781"/>
                <a:gd name="T5" fmla="*/ 1949805130 h 1235"/>
                <a:gd name="T6" fmla="*/ 2147483647 w 1781"/>
                <a:gd name="T7" fmla="*/ 2147483647 h 1235"/>
                <a:gd name="T8" fmla="*/ 2147483647 w 1781"/>
                <a:gd name="T9" fmla="*/ 2147483647 h 1235"/>
                <a:gd name="T10" fmla="*/ 1996434099 w 1781"/>
                <a:gd name="T11" fmla="*/ 0 h 1235"/>
                <a:gd name="T12" fmla="*/ 2147483647 w 1781"/>
                <a:gd name="T13" fmla="*/ 193368391 h 1235"/>
                <a:gd name="T14" fmla="*/ 0 60000 65536"/>
                <a:gd name="T15" fmla="*/ 0 60000 65536"/>
                <a:gd name="T16" fmla="*/ 0 60000 65536"/>
                <a:gd name="T17" fmla="*/ 0 60000 65536"/>
                <a:gd name="T18" fmla="*/ 0 60000 65536"/>
                <a:gd name="T19" fmla="*/ 0 60000 65536"/>
                <a:gd name="T20" fmla="*/ 0 60000 65536"/>
                <a:gd name="T21" fmla="*/ 0 w 1781"/>
                <a:gd name="T22" fmla="*/ 0 h 1235"/>
                <a:gd name="T23" fmla="*/ 1781 w 1781"/>
                <a:gd name="T24" fmla="*/ 1235 h 12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81" h="1235">
                  <a:moveTo>
                    <a:pt x="487" y="36"/>
                  </a:moveTo>
                  <a:cubicBezTo>
                    <a:pt x="412" y="169"/>
                    <a:pt x="208" y="597"/>
                    <a:pt x="609" y="785"/>
                  </a:cubicBezTo>
                  <a:cubicBezTo>
                    <a:pt x="830" y="873"/>
                    <a:pt x="1204" y="807"/>
                    <a:pt x="1523" y="363"/>
                  </a:cubicBezTo>
                  <a:cubicBezTo>
                    <a:pt x="1586" y="379"/>
                    <a:pt x="1709" y="419"/>
                    <a:pt x="1781" y="444"/>
                  </a:cubicBezTo>
                  <a:cubicBezTo>
                    <a:pt x="1502" y="949"/>
                    <a:pt x="806" y="1235"/>
                    <a:pt x="452" y="998"/>
                  </a:cubicBezTo>
                  <a:cubicBezTo>
                    <a:pt x="0" y="701"/>
                    <a:pt x="278" y="135"/>
                    <a:pt x="372" y="0"/>
                  </a:cubicBezTo>
                  <a:cubicBezTo>
                    <a:pt x="430" y="17"/>
                    <a:pt x="411" y="11"/>
                    <a:pt x="487" y="36"/>
                  </a:cubicBezTo>
                  <a:close/>
                </a:path>
              </a:pathLst>
            </a:custGeom>
            <a:grpFill/>
            <a:ln w="9525">
              <a:noFill/>
              <a:round/>
              <a:headEnd/>
              <a:tailEnd/>
            </a:ln>
            <a:effectLst>
              <a:reflection blurRad="6350" stA="52000" endA="300" endPos="35000" dir="5400000" sy="-100000" algn="bl" rotWithShape="0"/>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1">
                <a:ln w="18000">
                  <a:solidFill>
                    <a:srgbClr val="A8532B">
                      <a:satMod val="140000"/>
                    </a:srgbClr>
                  </a:solidFill>
                  <a:prstDash val="solid"/>
                  <a:miter lim="800000"/>
                </a:ln>
                <a:noFill/>
                <a:effectLst>
                  <a:outerShdw blurRad="25500" dist="23000" dir="7020000" algn="tl">
                    <a:srgbClr val="000000">
                      <a:alpha val="50000"/>
                    </a:srgbClr>
                  </a:outerShdw>
                </a:effectLst>
                <a:uLnTx/>
                <a:uFillTx/>
                <a:latin typeface="Arial" charset="0"/>
                <a:ea typeface="+mn-ea"/>
                <a:cs typeface="Arial" pitchFamily="34" charset="0"/>
              </a:endParaRPr>
            </a:p>
          </p:txBody>
        </p:sp>
        <p:sp>
          <p:nvSpPr>
            <p:cNvPr id="21531" name="Freeform 42"/>
            <p:cNvSpPr>
              <a:spLocks/>
            </p:cNvSpPr>
            <p:nvPr/>
          </p:nvSpPr>
          <p:spPr bwMode="auto">
            <a:xfrm>
              <a:off x="755" y="2659"/>
              <a:ext cx="1915" cy="1172"/>
            </a:xfrm>
            <a:custGeom>
              <a:avLst/>
              <a:gdLst>
                <a:gd name="T0" fmla="*/ 0 w 1312"/>
                <a:gd name="T1" fmla="*/ 2147483647 h 803"/>
                <a:gd name="T2" fmla="*/ 2147483647 w 1312"/>
                <a:gd name="T3" fmla="*/ 2147483647 h 803"/>
                <a:gd name="T4" fmla="*/ 2147483647 w 1312"/>
                <a:gd name="T5" fmla="*/ 0 h 803"/>
                <a:gd name="T6" fmla="*/ 2147483647 w 1312"/>
                <a:gd name="T7" fmla="*/ 1534758865 h 803"/>
                <a:gd name="T8" fmla="*/ 2147483647 w 1312"/>
                <a:gd name="T9" fmla="*/ 2147483647 h 803"/>
                <a:gd name="T10" fmla="*/ 0 w 1312"/>
                <a:gd name="T11" fmla="*/ 2147483647 h 803"/>
                <a:gd name="T12" fmla="*/ 0 60000 65536"/>
                <a:gd name="T13" fmla="*/ 0 60000 65536"/>
                <a:gd name="T14" fmla="*/ 0 60000 65536"/>
                <a:gd name="T15" fmla="*/ 0 60000 65536"/>
                <a:gd name="T16" fmla="*/ 0 60000 65536"/>
                <a:gd name="T17" fmla="*/ 0 60000 65536"/>
                <a:gd name="T18" fmla="*/ 0 w 1312"/>
                <a:gd name="T19" fmla="*/ 0 h 803"/>
                <a:gd name="T20" fmla="*/ 1312 w 1312"/>
                <a:gd name="T21" fmla="*/ 803 h 803"/>
              </a:gdLst>
              <a:ahLst/>
              <a:cxnLst>
                <a:cxn ang="T12">
                  <a:pos x="T0" y="T1"/>
                </a:cxn>
                <a:cxn ang="T13">
                  <a:pos x="T2" y="T3"/>
                </a:cxn>
                <a:cxn ang="T14">
                  <a:pos x="T4" y="T5"/>
                </a:cxn>
                <a:cxn ang="T15">
                  <a:pos x="T6" y="T7"/>
                </a:cxn>
                <a:cxn ang="T16">
                  <a:pos x="T8" y="T9"/>
                </a:cxn>
                <a:cxn ang="T17">
                  <a:pos x="T10" y="T11"/>
                </a:cxn>
              </a:cxnLst>
              <a:rect l="T18" t="T19" r="T20" b="T21"/>
              <a:pathLst>
                <a:path w="1312" h="803">
                  <a:moveTo>
                    <a:pt x="0" y="589"/>
                  </a:moveTo>
                  <a:cubicBezTo>
                    <a:pt x="0" y="589"/>
                    <a:pt x="399" y="803"/>
                    <a:pt x="989" y="335"/>
                  </a:cubicBezTo>
                  <a:cubicBezTo>
                    <a:pt x="1163" y="189"/>
                    <a:pt x="1267" y="0"/>
                    <a:pt x="1267" y="0"/>
                  </a:cubicBezTo>
                  <a:cubicBezTo>
                    <a:pt x="1312" y="63"/>
                    <a:pt x="1312" y="63"/>
                    <a:pt x="1312" y="63"/>
                  </a:cubicBezTo>
                  <a:cubicBezTo>
                    <a:pt x="1312" y="63"/>
                    <a:pt x="999" y="633"/>
                    <a:pt x="400" y="678"/>
                  </a:cubicBezTo>
                  <a:cubicBezTo>
                    <a:pt x="148" y="694"/>
                    <a:pt x="0" y="589"/>
                    <a:pt x="0" y="589"/>
                  </a:cubicBez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1">
                <a:ln>
                  <a:noFill/>
                </a:ln>
                <a:solidFill>
                  <a:prstClr val="black"/>
                </a:solidFill>
                <a:effectLst/>
                <a:uLnTx/>
                <a:uFillTx/>
                <a:latin typeface="Arial" charset="0"/>
                <a:ea typeface="+mn-ea"/>
                <a:cs typeface="Arial" pitchFamily="34" charset="0"/>
              </a:endParaRPr>
            </a:p>
          </p:txBody>
        </p:sp>
        <p:sp>
          <p:nvSpPr>
            <p:cNvPr id="21532" name="Freeform 43"/>
            <p:cNvSpPr>
              <a:spLocks/>
            </p:cNvSpPr>
            <p:nvPr/>
          </p:nvSpPr>
          <p:spPr bwMode="auto">
            <a:xfrm>
              <a:off x="419" y="2066"/>
              <a:ext cx="389" cy="1042"/>
            </a:xfrm>
            <a:custGeom>
              <a:avLst/>
              <a:gdLst>
                <a:gd name="T0" fmla="*/ 2147483647 w 267"/>
                <a:gd name="T1" fmla="*/ 0 h 714"/>
                <a:gd name="T2" fmla="*/ 2147483647 w 267"/>
                <a:gd name="T3" fmla="*/ 1217349982 h 714"/>
                <a:gd name="T4" fmla="*/ 2147483647 w 267"/>
                <a:gd name="T5" fmla="*/ 2147483647 h 714"/>
                <a:gd name="T6" fmla="*/ 2096888232 w 267"/>
                <a:gd name="T7" fmla="*/ 2147483647 h 714"/>
                <a:gd name="T8" fmla="*/ 2147483647 w 267"/>
                <a:gd name="T9" fmla="*/ 0 h 714"/>
                <a:gd name="T10" fmla="*/ 0 60000 65536"/>
                <a:gd name="T11" fmla="*/ 0 60000 65536"/>
                <a:gd name="T12" fmla="*/ 0 60000 65536"/>
                <a:gd name="T13" fmla="*/ 0 60000 65536"/>
                <a:gd name="T14" fmla="*/ 0 60000 65536"/>
                <a:gd name="T15" fmla="*/ 0 w 267"/>
                <a:gd name="T16" fmla="*/ 0 h 714"/>
                <a:gd name="T17" fmla="*/ 267 w 267"/>
                <a:gd name="T18" fmla="*/ 714 h 714"/>
              </a:gdLst>
              <a:ahLst/>
              <a:cxnLst>
                <a:cxn ang="T10">
                  <a:pos x="T0" y="T1"/>
                </a:cxn>
                <a:cxn ang="T11">
                  <a:pos x="T2" y="T3"/>
                </a:cxn>
                <a:cxn ang="T12">
                  <a:pos x="T4" y="T5"/>
                </a:cxn>
                <a:cxn ang="T13">
                  <a:pos x="T6" y="T7"/>
                </a:cxn>
                <a:cxn ang="T14">
                  <a:pos x="T8" y="T9"/>
                </a:cxn>
              </a:cxnLst>
              <a:rect l="T15" t="T16" r="T17" b="T18"/>
              <a:pathLst>
                <a:path w="267" h="714">
                  <a:moveTo>
                    <a:pt x="205" y="0"/>
                  </a:moveTo>
                  <a:cubicBezTo>
                    <a:pt x="205" y="0"/>
                    <a:pt x="254" y="45"/>
                    <a:pt x="261" y="50"/>
                  </a:cubicBezTo>
                  <a:cubicBezTo>
                    <a:pt x="267" y="61"/>
                    <a:pt x="0" y="424"/>
                    <a:pt x="264" y="714"/>
                  </a:cubicBezTo>
                  <a:cubicBezTo>
                    <a:pt x="69" y="593"/>
                    <a:pt x="85" y="409"/>
                    <a:pt x="87" y="363"/>
                  </a:cubicBezTo>
                  <a:cubicBezTo>
                    <a:pt x="88" y="197"/>
                    <a:pt x="205" y="0"/>
                    <a:pt x="205" y="0"/>
                  </a:cubicBez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1">
                <a:ln>
                  <a:noFill/>
                </a:ln>
                <a:solidFill>
                  <a:prstClr val="black"/>
                </a:solidFill>
                <a:effectLst/>
                <a:uLnTx/>
                <a:uFillTx/>
                <a:latin typeface="Arial" charset="0"/>
                <a:ea typeface="+mn-ea"/>
                <a:cs typeface="Arial" pitchFamily="34" charset="0"/>
              </a:endParaRPr>
            </a:p>
          </p:txBody>
        </p:sp>
      </p:grpSp>
      <p:sp>
        <p:nvSpPr>
          <p:cNvPr id="22544" name="Freeform 3"/>
          <p:cNvSpPr>
            <a:spLocks/>
          </p:cNvSpPr>
          <p:nvPr/>
        </p:nvSpPr>
        <p:spPr bwMode="auto">
          <a:xfrm>
            <a:off x="228600" y="3889375"/>
            <a:ext cx="3505200" cy="2282825"/>
          </a:xfrm>
          <a:custGeom>
            <a:avLst/>
            <a:gdLst>
              <a:gd name="T0" fmla="*/ 2147483647 w 1969"/>
              <a:gd name="T1" fmla="*/ 0 h 1586"/>
              <a:gd name="T2" fmla="*/ 2147483647 w 1969"/>
              <a:gd name="T3" fmla="*/ 2147483647 h 1586"/>
              <a:gd name="T4" fmla="*/ 2147483647 w 1969"/>
              <a:gd name="T5" fmla="*/ 2147483647 h 1586"/>
              <a:gd name="T6" fmla="*/ 2147483647 w 1969"/>
              <a:gd name="T7" fmla="*/ 2147483647 h 1586"/>
              <a:gd name="T8" fmla="*/ 2147483647 w 1969"/>
              <a:gd name="T9" fmla="*/ 2147483647 h 1586"/>
              <a:gd name="T10" fmla="*/ 2147483647 w 1969"/>
              <a:gd name="T11" fmla="*/ 2147483647 h 1586"/>
              <a:gd name="T12" fmla="*/ 2147483647 w 1969"/>
              <a:gd name="T13" fmla="*/ 2147483647 h 1586"/>
              <a:gd name="T14" fmla="*/ 2147483647 w 1969"/>
              <a:gd name="T15" fmla="*/ 2147483647 h 1586"/>
              <a:gd name="T16" fmla="*/ 2147483647 w 1969"/>
              <a:gd name="T17" fmla="*/ 2147483647 h 1586"/>
              <a:gd name="T18" fmla="*/ 2147483647 w 1969"/>
              <a:gd name="T19" fmla="*/ 2147483647 h 1586"/>
              <a:gd name="T20" fmla="*/ 2147483647 w 1969"/>
              <a:gd name="T21" fmla="*/ 2147483647 h 1586"/>
              <a:gd name="T22" fmla="*/ 2147483647 w 1969"/>
              <a:gd name="T23" fmla="*/ 2147483647 h 1586"/>
              <a:gd name="T24" fmla="*/ 2147483647 w 1969"/>
              <a:gd name="T25" fmla="*/ 2147483647 h 1586"/>
              <a:gd name="T26" fmla="*/ 2147483647 w 1969"/>
              <a:gd name="T27" fmla="*/ 2147483647 h 1586"/>
              <a:gd name="T28" fmla="*/ 2147483647 w 1969"/>
              <a:gd name="T29" fmla="*/ 2147483647 h 1586"/>
              <a:gd name="T30" fmla="*/ 2147483647 w 1969"/>
              <a:gd name="T31" fmla="*/ 2147483647 h 1586"/>
              <a:gd name="T32" fmla="*/ 2147483647 w 1969"/>
              <a:gd name="T33" fmla="*/ 2147483647 h 1586"/>
              <a:gd name="T34" fmla="*/ 2147483647 w 1969"/>
              <a:gd name="T35" fmla="*/ 2147483647 h 1586"/>
              <a:gd name="T36" fmla="*/ 0 w 1969"/>
              <a:gd name="T37" fmla="*/ 2147483647 h 1586"/>
              <a:gd name="T38" fmla="*/ 2147483647 w 1969"/>
              <a:gd name="T39" fmla="*/ 0 h 158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69"/>
              <a:gd name="T61" fmla="*/ 0 h 1586"/>
              <a:gd name="T62" fmla="*/ 1969 w 1969"/>
              <a:gd name="T63" fmla="*/ 1586 h 158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69" h="1586">
                <a:moveTo>
                  <a:pt x="1568" y="0"/>
                </a:moveTo>
                <a:cubicBezTo>
                  <a:pt x="1555" y="24"/>
                  <a:pt x="1516" y="96"/>
                  <a:pt x="1492" y="144"/>
                </a:cubicBezTo>
                <a:lnTo>
                  <a:pt x="1422" y="289"/>
                </a:lnTo>
                <a:lnTo>
                  <a:pt x="1382" y="429"/>
                </a:lnTo>
                <a:lnTo>
                  <a:pt x="1337" y="625"/>
                </a:lnTo>
                <a:lnTo>
                  <a:pt x="1329" y="778"/>
                </a:lnTo>
                <a:lnTo>
                  <a:pt x="1335" y="900"/>
                </a:lnTo>
                <a:lnTo>
                  <a:pt x="1355" y="1018"/>
                </a:lnTo>
                <a:lnTo>
                  <a:pt x="1379" y="1089"/>
                </a:lnTo>
                <a:lnTo>
                  <a:pt x="1434" y="1197"/>
                </a:lnTo>
                <a:lnTo>
                  <a:pt x="1492" y="1266"/>
                </a:lnTo>
                <a:lnTo>
                  <a:pt x="1574" y="1365"/>
                </a:lnTo>
                <a:lnTo>
                  <a:pt x="1678" y="1441"/>
                </a:lnTo>
                <a:lnTo>
                  <a:pt x="1766" y="1488"/>
                </a:lnTo>
                <a:lnTo>
                  <a:pt x="1853" y="1540"/>
                </a:lnTo>
                <a:lnTo>
                  <a:pt x="1911" y="1552"/>
                </a:lnTo>
                <a:lnTo>
                  <a:pt x="1969" y="1586"/>
                </a:lnTo>
                <a:lnTo>
                  <a:pt x="3" y="1586"/>
                </a:lnTo>
                <a:lnTo>
                  <a:pt x="0" y="1"/>
                </a:lnTo>
                <a:cubicBezTo>
                  <a:pt x="0" y="1"/>
                  <a:pt x="1568" y="0"/>
                  <a:pt x="1568" y="0"/>
                </a:cubicBezTo>
                <a:close/>
              </a:path>
            </a:pathLst>
          </a:custGeom>
          <a:solidFill>
            <a:schemeClr val="bg2">
              <a:alpha val="50195"/>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600" b="0" i="0" u="none" strike="noStrike" kern="1200" cap="none" spc="0" normalizeH="0" baseline="0" noProof="0">
              <a:ln>
                <a:noFill/>
              </a:ln>
              <a:solidFill>
                <a:prstClr val="black"/>
              </a:solidFill>
              <a:effectLst/>
              <a:uLnTx/>
              <a:uFillTx/>
              <a:latin typeface="Calibri"/>
              <a:ea typeface="+mn-ea"/>
              <a:cs typeface="Arial" pitchFamily="34" charset="0"/>
            </a:endParaRPr>
          </a:p>
        </p:txBody>
      </p:sp>
      <p:sp>
        <p:nvSpPr>
          <p:cNvPr id="22545" name="Text Box 45"/>
          <p:cNvSpPr txBox="1">
            <a:spLocks noChangeArrowheads="1"/>
          </p:cNvSpPr>
          <p:nvPr/>
        </p:nvSpPr>
        <p:spPr bwMode="auto">
          <a:xfrm>
            <a:off x="304801" y="4035424"/>
            <a:ext cx="2514599" cy="2117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01688" eaLnBrk="0" hangingPunct="0">
              <a:defRPr>
                <a:solidFill>
                  <a:schemeClr val="tx1"/>
                </a:solidFill>
                <a:latin typeface="Arial" pitchFamily="34" charset="0"/>
                <a:cs typeface="Arial" pitchFamily="34" charset="0"/>
              </a:defRPr>
            </a:lvl1pPr>
            <a:lvl2pPr marL="742950" indent="-285750" defTabSz="801688" eaLnBrk="0" hangingPunct="0">
              <a:defRPr>
                <a:solidFill>
                  <a:schemeClr val="tx1"/>
                </a:solidFill>
                <a:latin typeface="Arial" pitchFamily="34" charset="0"/>
                <a:cs typeface="Arial" pitchFamily="34" charset="0"/>
              </a:defRPr>
            </a:lvl2pPr>
            <a:lvl3pPr marL="1143000" indent="-228600" defTabSz="801688" eaLnBrk="0" hangingPunct="0">
              <a:defRPr>
                <a:solidFill>
                  <a:schemeClr val="tx1"/>
                </a:solidFill>
                <a:latin typeface="Arial" pitchFamily="34" charset="0"/>
                <a:cs typeface="Arial" pitchFamily="34" charset="0"/>
              </a:defRPr>
            </a:lvl3pPr>
            <a:lvl4pPr marL="1600200" indent="-228600" defTabSz="801688" eaLnBrk="0" hangingPunct="0">
              <a:defRPr>
                <a:solidFill>
                  <a:schemeClr val="tx1"/>
                </a:solidFill>
                <a:latin typeface="Arial" pitchFamily="34" charset="0"/>
                <a:cs typeface="Arial" pitchFamily="34" charset="0"/>
              </a:defRPr>
            </a:lvl4pPr>
            <a:lvl5pPr marL="2057400" indent="-228600" defTabSz="801688" eaLnBrk="0" hangingPunct="0">
              <a:defRPr>
                <a:solidFill>
                  <a:schemeClr val="tx1"/>
                </a:solidFill>
                <a:latin typeface="Arial" pitchFamily="34" charset="0"/>
                <a:cs typeface="Arial" pitchFamily="34" charset="0"/>
              </a:defRPr>
            </a:lvl5pPr>
            <a:lvl6pPr marL="2514600" indent="-228600" defTabSz="80168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0168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0168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01688"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801688" rtl="0" eaLnBrk="1" fontAlgn="base" latinLnBrk="0" hangingPunct="1">
              <a:lnSpc>
                <a:spcPct val="100000"/>
              </a:lnSpc>
              <a:spcBef>
                <a:spcPct val="20000"/>
              </a:spcBef>
              <a:spcAft>
                <a:spcPct val="0"/>
              </a:spcAft>
              <a:buClrTx/>
              <a:buSzTx/>
              <a:buFontTx/>
              <a:buNone/>
              <a:tabLst/>
              <a:defRPr/>
            </a:pPr>
            <a:r>
              <a:rPr kumimoji="0" lang="en-IN" sz="1600" b="1" i="0" u="none" strike="noStrike" kern="1200" cap="none" spc="0" normalizeH="0" baseline="0" noProof="1">
                <a:ln>
                  <a:noFill/>
                </a:ln>
                <a:solidFill>
                  <a:srgbClr val="000000"/>
                </a:solidFill>
                <a:effectLst/>
                <a:uLnTx/>
                <a:uFillTx/>
                <a:latin typeface="Calibri"/>
                <a:ea typeface="+mn-ea"/>
                <a:cs typeface="Arial" pitchFamily="34" charset="0"/>
              </a:rPr>
              <a:t>Your Goals</a:t>
            </a:r>
          </a:p>
          <a:p>
            <a:pPr marL="0" marR="0" lvl="0" indent="0" algn="l" defTabSz="801688" rtl="0" eaLnBrk="1" fontAlgn="base" latinLnBrk="0" hangingPunct="1">
              <a:lnSpc>
                <a:spcPct val="100000"/>
              </a:lnSpc>
              <a:spcBef>
                <a:spcPct val="20000"/>
              </a:spcBef>
              <a:spcAft>
                <a:spcPct val="0"/>
              </a:spcAft>
              <a:buClrTx/>
              <a:buSzTx/>
              <a:buFont typeface="Wingdings" pitchFamily="2" charset="2"/>
              <a:buChar char="ü"/>
              <a:tabLst/>
              <a:defRPr/>
            </a:pPr>
            <a:r>
              <a:rPr kumimoji="0" lang="en-IN" sz="1600" b="0" i="0" u="none" strike="noStrike" kern="1200" cap="none" spc="0" normalizeH="0" baseline="0" noProof="1">
                <a:ln>
                  <a:noFill/>
                </a:ln>
                <a:solidFill>
                  <a:srgbClr val="000000"/>
                </a:solidFill>
                <a:effectLst/>
                <a:uLnTx/>
                <a:uFillTx/>
                <a:latin typeface="Calibri"/>
                <a:ea typeface="+mn-ea"/>
                <a:cs typeface="Arial" pitchFamily="34" charset="0"/>
              </a:rPr>
              <a:t> To fully understand the job</a:t>
            </a:r>
          </a:p>
          <a:p>
            <a:pPr marL="0" marR="0" lvl="0" indent="0" algn="l" defTabSz="801688" rtl="0" eaLnBrk="1" fontAlgn="base" latinLnBrk="0" hangingPunct="1">
              <a:lnSpc>
                <a:spcPct val="100000"/>
              </a:lnSpc>
              <a:spcBef>
                <a:spcPct val="20000"/>
              </a:spcBef>
              <a:spcAft>
                <a:spcPct val="0"/>
              </a:spcAft>
              <a:buClrTx/>
              <a:buSzTx/>
              <a:buFont typeface="Wingdings" pitchFamily="2" charset="2"/>
              <a:buChar char="ü"/>
              <a:tabLst/>
              <a:defRPr/>
            </a:pPr>
            <a:r>
              <a:rPr kumimoji="0" lang="en-IN" sz="1600" b="0" i="0" u="none" strike="noStrike" kern="1200" cap="none" spc="0" normalizeH="0" baseline="0" noProof="1">
                <a:ln>
                  <a:noFill/>
                </a:ln>
                <a:solidFill>
                  <a:srgbClr val="000000"/>
                </a:solidFill>
                <a:effectLst/>
                <a:uLnTx/>
                <a:uFillTx/>
                <a:latin typeface="Calibri"/>
                <a:ea typeface="+mn-ea"/>
                <a:cs typeface="Arial" pitchFamily="34" charset="0"/>
              </a:rPr>
              <a:t> To match your skills,   </a:t>
            </a:r>
            <a:br>
              <a:rPr kumimoji="0" lang="en-IN" sz="1600" b="0" i="0" u="none" strike="noStrike" kern="1200" cap="none" spc="0" normalizeH="0" baseline="0" noProof="1">
                <a:ln>
                  <a:noFill/>
                </a:ln>
                <a:solidFill>
                  <a:srgbClr val="000000"/>
                </a:solidFill>
                <a:effectLst/>
                <a:uLnTx/>
                <a:uFillTx/>
                <a:latin typeface="Calibri"/>
                <a:ea typeface="+mn-ea"/>
                <a:cs typeface="Arial" pitchFamily="34" charset="0"/>
              </a:rPr>
            </a:br>
            <a:r>
              <a:rPr kumimoji="0" lang="en-IN" sz="1600" b="0" i="0" u="none" strike="noStrike" kern="1200" cap="none" spc="0" normalizeH="0" baseline="0" noProof="1">
                <a:ln>
                  <a:noFill/>
                </a:ln>
                <a:solidFill>
                  <a:srgbClr val="000000"/>
                </a:solidFill>
                <a:effectLst/>
                <a:uLnTx/>
                <a:uFillTx/>
                <a:latin typeface="Calibri"/>
                <a:ea typeface="+mn-ea"/>
                <a:cs typeface="Arial" pitchFamily="34" charset="0"/>
              </a:rPr>
              <a:t>     experience &amp; knowledge </a:t>
            </a:r>
            <a:br>
              <a:rPr kumimoji="0" lang="en-IN" sz="1600" b="0" i="0" u="none" strike="noStrike" kern="1200" cap="none" spc="0" normalizeH="0" baseline="0" noProof="1">
                <a:ln>
                  <a:noFill/>
                </a:ln>
                <a:solidFill>
                  <a:srgbClr val="000000"/>
                </a:solidFill>
                <a:effectLst/>
                <a:uLnTx/>
                <a:uFillTx/>
                <a:latin typeface="Calibri"/>
                <a:ea typeface="+mn-ea"/>
                <a:cs typeface="Arial" pitchFamily="34" charset="0"/>
              </a:rPr>
            </a:br>
            <a:r>
              <a:rPr kumimoji="0" lang="en-IN" sz="1600" b="0" i="0" u="none" strike="noStrike" kern="1200" cap="none" spc="0" normalizeH="0" baseline="0" noProof="1">
                <a:ln>
                  <a:noFill/>
                </a:ln>
                <a:solidFill>
                  <a:srgbClr val="000000"/>
                </a:solidFill>
                <a:effectLst/>
                <a:uLnTx/>
                <a:uFillTx/>
                <a:latin typeface="Calibri"/>
                <a:ea typeface="+mn-ea"/>
                <a:cs typeface="Arial" pitchFamily="34" charset="0"/>
              </a:rPr>
              <a:t>     to the critical aspects of  </a:t>
            </a:r>
            <a:br>
              <a:rPr kumimoji="0" lang="en-IN" sz="1600" b="0" i="0" u="none" strike="noStrike" kern="1200" cap="none" spc="0" normalizeH="0" baseline="0" noProof="1">
                <a:ln>
                  <a:noFill/>
                </a:ln>
                <a:solidFill>
                  <a:srgbClr val="000000"/>
                </a:solidFill>
                <a:effectLst/>
                <a:uLnTx/>
                <a:uFillTx/>
                <a:latin typeface="Calibri"/>
                <a:ea typeface="+mn-ea"/>
                <a:cs typeface="Arial" pitchFamily="34" charset="0"/>
              </a:rPr>
            </a:br>
            <a:r>
              <a:rPr kumimoji="0" lang="en-IN" sz="1600" b="0" i="0" u="none" strike="noStrike" kern="1200" cap="none" spc="0" normalizeH="0" baseline="0" noProof="1">
                <a:ln>
                  <a:noFill/>
                </a:ln>
                <a:solidFill>
                  <a:srgbClr val="000000"/>
                </a:solidFill>
                <a:effectLst/>
                <a:uLnTx/>
                <a:uFillTx/>
                <a:latin typeface="Calibri"/>
                <a:ea typeface="+mn-ea"/>
                <a:cs typeface="Arial" pitchFamily="34" charset="0"/>
              </a:rPr>
              <a:t>     the job</a:t>
            </a:r>
          </a:p>
          <a:p>
            <a:pPr marL="0" marR="0" lvl="0" indent="0" algn="l" defTabSz="801688" rtl="0" eaLnBrk="1" fontAlgn="base" latinLnBrk="0" hangingPunct="1">
              <a:lnSpc>
                <a:spcPct val="100000"/>
              </a:lnSpc>
              <a:spcBef>
                <a:spcPct val="20000"/>
              </a:spcBef>
              <a:spcAft>
                <a:spcPct val="0"/>
              </a:spcAft>
              <a:buClrTx/>
              <a:buSzTx/>
              <a:buFont typeface="Wingdings" pitchFamily="2" charset="2"/>
              <a:buChar char="ü"/>
              <a:tabLst/>
              <a:defRPr/>
            </a:pPr>
            <a:r>
              <a:rPr kumimoji="0" lang="en-IN" sz="1600" b="0" i="0" u="none" strike="noStrike" kern="1200" cap="none" spc="0" normalizeH="0" baseline="0" noProof="1">
                <a:ln>
                  <a:noFill/>
                </a:ln>
                <a:solidFill>
                  <a:srgbClr val="000000"/>
                </a:solidFill>
                <a:effectLst/>
                <a:uLnTx/>
                <a:uFillTx/>
                <a:latin typeface="Calibri"/>
                <a:ea typeface="+mn-ea"/>
                <a:cs typeface="Arial" pitchFamily="34" charset="0"/>
              </a:rPr>
              <a:t> To demonstrate that you </a:t>
            </a:r>
            <a:br>
              <a:rPr kumimoji="0" lang="en-IN" sz="1600" b="0" i="0" u="none" strike="noStrike" kern="1200" cap="none" spc="0" normalizeH="0" baseline="0" noProof="1">
                <a:ln>
                  <a:noFill/>
                </a:ln>
                <a:solidFill>
                  <a:srgbClr val="000000"/>
                </a:solidFill>
                <a:effectLst/>
                <a:uLnTx/>
                <a:uFillTx/>
                <a:latin typeface="Calibri"/>
                <a:ea typeface="+mn-ea"/>
                <a:cs typeface="Arial" pitchFamily="34" charset="0"/>
              </a:rPr>
            </a:br>
            <a:r>
              <a:rPr kumimoji="0" lang="en-IN" sz="1600" b="0" i="0" u="none" strike="noStrike" kern="1200" cap="none" spc="0" normalizeH="0" baseline="0" noProof="1">
                <a:ln>
                  <a:noFill/>
                </a:ln>
                <a:solidFill>
                  <a:srgbClr val="000000"/>
                </a:solidFill>
                <a:effectLst/>
                <a:uLnTx/>
                <a:uFillTx/>
                <a:latin typeface="Calibri"/>
                <a:ea typeface="+mn-ea"/>
                <a:cs typeface="Arial" pitchFamily="34" charset="0"/>
              </a:rPr>
              <a:t>     are a good “fit”</a:t>
            </a:r>
          </a:p>
        </p:txBody>
      </p:sp>
      <p:sp>
        <p:nvSpPr>
          <p:cNvPr id="333826" name="Freeform 2"/>
          <p:cNvSpPr>
            <a:spLocks/>
          </p:cNvSpPr>
          <p:nvPr/>
        </p:nvSpPr>
        <p:spPr bwMode="auto">
          <a:xfrm>
            <a:off x="4741863" y="2652713"/>
            <a:ext cx="4243387" cy="2147887"/>
          </a:xfrm>
          <a:custGeom>
            <a:avLst/>
            <a:gdLst>
              <a:gd name="T0" fmla="*/ 2147483647 w 2265"/>
              <a:gd name="T1" fmla="*/ 2147483647 h 1494"/>
              <a:gd name="T2" fmla="*/ 2147483647 w 2265"/>
              <a:gd name="T3" fmla="*/ 2147483647 h 1494"/>
              <a:gd name="T4" fmla="*/ 2147483647 w 2265"/>
              <a:gd name="T5" fmla="*/ 2147483647 h 1494"/>
              <a:gd name="T6" fmla="*/ 2147483647 w 2265"/>
              <a:gd name="T7" fmla="*/ 2147483647 h 1494"/>
              <a:gd name="T8" fmla="*/ 2147483647 w 2265"/>
              <a:gd name="T9" fmla="*/ 2147483647 h 1494"/>
              <a:gd name="T10" fmla="*/ 2147483647 w 2265"/>
              <a:gd name="T11" fmla="*/ 2147483647 h 1494"/>
              <a:gd name="T12" fmla="*/ 2147483647 w 2265"/>
              <a:gd name="T13" fmla="*/ 2147483647 h 1494"/>
              <a:gd name="T14" fmla="*/ 2147483647 w 2265"/>
              <a:gd name="T15" fmla="*/ 2147483647 h 1494"/>
              <a:gd name="T16" fmla="*/ 2147483647 w 2265"/>
              <a:gd name="T17" fmla="*/ 2147483647 h 1494"/>
              <a:gd name="T18" fmla="*/ 2147483647 w 2265"/>
              <a:gd name="T19" fmla="*/ 2147483647 h 1494"/>
              <a:gd name="T20" fmla="*/ 2147483647 w 2265"/>
              <a:gd name="T21" fmla="*/ 2147483647 h 1494"/>
              <a:gd name="T22" fmla="*/ 2147483647 w 2265"/>
              <a:gd name="T23" fmla="*/ 2147483647 h 1494"/>
              <a:gd name="T24" fmla="*/ 2147483647 w 2265"/>
              <a:gd name="T25" fmla="*/ 2147483647 h 1494"/>
              <a:gd name="T26" fmla="*/ 2147483647 w 2265"/>
              <a:gd name="T27" fmla="*/ 2147483647 h 1494"/>
              <a:gd name="T28" fmla="*/ 2147483647 w 2265"/>
              <a:gd name="T29" fmla="*/ 2147483647 h 1494"/>
              <a:gd name="T30" fmla="*/ 2147483647 w 2265"/>
              <a:gd name="T31" fmla="*/ 2147483647 h 1494"/>
              <a:gd name="T32" fmla="*/ 0 w 2265"/>
              <a:gd name="T33" fmla="*/ 2147483647 h 1494"/>
              <a:gd name="T34" fmla="*/ 2147483647 w 2265"/>
              <a:gd name="T35" fmla="*/ 0 h 1494"/>
              <a:gd name="T36" fmla="*/ 2147483647 w 2265"/>
              <a:gd name="T37" fmla="*/ 2147483647 h 1494"/>
              <a:gd name="T38" fmla="*/ 2147483647 w 2265"/>
              <a:gd name="T39" fmla="*/ 2147483647 h 149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65"/>
              <a:gd name="T61" fmla="*/ 0 h 1494"/>
              <a:gd name="T62" fmla="*/ 2265 w 2265"/>
              <a:gd name="T63" fmla="*/ 1494 h 149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65" h="1494">
                <a:moveTo>
                  <a:pt x="689" y="1494"/>
                </a:moveTo>
                <a:cubicBezTo>
                  <a:pt x="704" y="1472"/>
                  <a:pt x="738" y="1399"/>
                  <a:pt x="755" y="1354"/>
                </a:cubicBezTo>
                <a:lnTo>
                  <a:pt x="789" y="1224"/>
                </a:lnTo>
                <a:lnTo>
                  <a:pt x="823" y="1080"/>
                </a:lnTo>
                <a:lnTo>
                  <a:pt x="841" y="886"/>
                </a:lnTo>
                <a:lnTo>
                  <a:pt x="825" y="750"/>
                </a:lnTo>
                <a:lnTo>
                  <a:pt x="797" y="639"/>
                </a:lnTo>
                <a:lnTo>
                  <a:pt x="745" y="528"/>
                </a:lnTo>
                <a:lnTo>
                  <a:pt x="713" y="452"/>
                </a:lnTo>
                <a:lnTo>
                  <a:pt x="667" y="366"/>
                </a:lnTo>
                <a:lnTo>
                  <a:pt x="624" y="301"/>
                </a:lnTo>
                <a:lnTo>
                  <a:pt x="529" y="198"/>
                </a:lnTo>
                <a:lnTo>
                  <a:pt x="415" y="118"/>
                </a:lnTo>
                <a:lnTo>
                  <a:pt x="323" y="74"/>
                </a:lnTo>
                <a:lnTo>
                  <a:pt x="225" y="40"/>
                </a:lnTo>
                <a:lnTo>
                  <a:pt x="165" y="26"/>
                </a:lnTo>
                <a:lnTo>
                  <a:pt x="0" y="1"/>
                </a:lnTo>
                <a:lnTo>
                  <a:pt x="2265" y="0"/>
                </a:lnTo>
                <a:lnTo>
                  <a:pt x="2265" y="1493"/>
                </a:lnTo>
                <a:cubicBezTo>
                  <a:pt x="2265" y="1493"/>
                  <a:pt x="689" y="1494"/>
                  <a:pt x="689" y="1494"/>
                </a:cubicBezTo>
                <a:close/>
              </a:path>
            </a:pathLst>
          </a:custGeom>
          <a:solidFill>
            <a:schemeClr val="accent2">
              <a:lumMod val="75000"/>
              <a:alpha val="50195"/>
            </a:schemeClr>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Arial" pitchFamily="34" charset="0"/>
            </a:endParaRPr>
          </a:p>
        </p:txBody>
      </p:sp>
      <p:sp>
        <p:nvSpPr>
          <p:cNvPr id="22543" name="Text Box 45"/>
          <p:cNvSpPr txBox="1">
            <a:spLocks noChangeArrowheads="1"/>
          </p:cNvSpPr>
          <p:nvPr/>
        </p:nvSpPr>
        <p:spPr bwMode="auto">
          <a:xfrm>
            <a:off x="6362595" y="2666678"/>
            <a:ext cx="2705205" cy="1871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01688" eaLnBrk="0" hangingPunct="0">
              <a:defRPr>
                <a:solidFill>
                  <a:schemeClr val="tx1"/>
                </a:solidFill>
                <a:latin typeface="Arial" pitchFamily="34" charset="0"/>
                <a:cs typeface="Arial" pitchFamily="34" charset="0"/>
              </a:defRPr>
            </a:lvl1pPr>
            <a:lvl2pPr marL="742950" indent="-285750" defTabSz="801688" eaLnBrk="0" hangingPunct="0">
              <a:defRPr>
                <a:solidFill>
                  <a:schemeClr val="tx1"/>
                </a:solidFill>
                <a:latin typeface="Arial" pitchFamily="34" charset="0"/>
                <a:cs typeface="Arial" pitchFamily="34" charset="0"/>
              </a:defRPr>
            </a:lvl2pPr>
            <a:lvl3pPr marL="1143000" indent="-228600" defTabSz="801688" eaLnBrk="0" hangingPunct="0">
              <a:defRPr>
                <a:solidFill>
                  <a:schemeClr val="tx1"/>
                </a:solidFill>
                <a:latin typeface="Arial" pitchFamily="34" charset="0"/>
                <a:cs typeface="Arial" pitchFamily="34" charset="0"/>
              </a:defRPr>
            </a:lvl3pPr>
            <a:lvl4pPr marL="1600200" indent="-228600" defTabSz="801688" eaLnBrk="0" hangingPunct="0">
              <a:defRPr>
                <a:solidFill>
                  <a:schemeClr val="tx1"/>
                </a:solidFill>
                <a:latin typeface="Arial" pitchFamily="34" charset="0"/>
                <a:cs typeface="Arial" pitchFamily="34" charset="0"/>
              </a:defRPr>
            </a:lvl4pPr>
            <a:lvl5pPr marL="2057400" indent="-228600" defTabSz="801688" eaLnBrk="0" hangingPunct="0">
              <a:defRPr>
                <a:solidFill>
                  <a:schemeClr val="tx1"/>
                </a:solidFill>
                <a:latin typeface="Arial" pitchFamily="34" charset="0"/>
                <a:cs typeface="Arial" pitchFamily="34" charset="0"/>
              </a:defRPr>
            </a:lvl5pPr>
            <a:lvl6pPr marL="2514600" indent="-228600" defTabSz="80168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0168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0168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01688"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801688" rtl="0" eaLnBrk="1" fontAlgn="base" latinLnBrk="0" hangingPunct="1">
              <a:lnSpc>
                <a:spcPct val="100000"/>
              </a:lnSpc>
              <a:spcBef>
                <a:spcPct val="20000"/>
              </a:spcBef>
              <a:spcAft>
                <a:spcPct val="0"/>
              </a:spcAft>
              <a:buClrTx/>
              <a:buSzTx/>
              <a:buFontTx/>
              <a:buNone/>
              <a:tabLst/>
              <a:defRPr/>
            </a:pPr>
            <a:r>
              <a:rPr kumimoji="0" lang="en-IN" sz="1600" b="1" i="0" u="none" strike="noStrike" kern="1200" cap="none" spc="0" normalizeH="0" baseline="0" noProof="1">
                <a:ln>
                  <a:noFill/>
                </a:ln>
                <a:solidFill>
                  <a:srgbClr val="FFFFFF"/>
                </a:solidFill>
                <a:effectLst/>
                <a:uLnTx/>
                <a:uFillTx/>
                <a:latin typeface="Calibri"/>
                <a:ea typeface="+mn-ea"/>
                <a:cs typeface="Arial" pitchFamily="34" charset="0"/>
              </a:rPr>
              <a:t>Employers’ Goals</a:t>
            </a:r>
          </a:p>
          <a:p>
            <a:pPr marL="0" marR="0" lvl="0" indent="0" algn="l" defTabSz="801688" rtl="0" eaLnBrk="1" fontAlgn="base" latinLnBrk="0" hangingPunct="1">
              <a:lnSpc>
                <a:spcPct val="100000"/>
              </a:lnSpc>
              <a:spcBef>
                <a:spcPct val="20000"/>
              </a:spcBef>
              <a:spcAft>
                <a:spcPct val="0"/>
              </a:spcAft>
              <a:buClrTx/>
              <a:buSzTx/>
              <a:buFont typeface="Wingdings" pitchFamily="2" charset="2"/>
              <a:buChar char="ü"/>
              <a:tabLst/>
              <a:defRPr/>
            </a:pPr>
            <a:r>
              <a:rPr kumimoji="0" lang="en-IN" sz="1600" b="0" i="0" u="none" strike="noStrike" kern="1200" cap="none" spc="0" normalizeH="0" baseline="0" noProof="1">
                <a:ln>
                  <a:noFill/>
                </a:ln>
                <a:solidFill>
                  <a:srgbClr val="FFFFFF"/>
                </a:solidFill>
                <a:effectLst/>
                <a:uLnTx/>
                <a:uFillTx/>
                <a:latin typeface="Calibri"/>
                <a:ea typeface="+mn-ea"/>
                <a:cs typeface="Arial" pitchFamily="34" charset="0"/>
              </a:rPr>
              <a:t> To assess your knowledge, </a:t>
            </a:r>
            <a:br>
              <a:rPr kumimoji="0" lang="en-IN" sz="1600" b="0" i="0" u="none" strike="noStrike" kern="1200" cap="none" spc="0" normalizeH="0" baseline="0" noProof="1">
                <a:ln>
                  <a:noFill/>
                </a:ln>
                <a:solidFill>
                  <a:srgbClr val="FFFFFF"/>
                </a:solidFill>
                <a:effectLst/>
                <a:uLnTx/>
                <a:uFillTx/>
                <a:latin typeface="Calibri"/>
                <a:ea typeface="+mn-ea"/>
                <a:cs typeface="Arial" pitchFamily="34" charset="0"/>
              </a:rPr>
            </a:br>
            <a:r>
              <a:rPr kumimoji="0" lang="en-IN" sz="1600" b="0" i="0" u="none" strike="noStrike" kern="1200" cap="none" spc="0" normalizeH="0" baseline="0" noProof="1">
                <a:ln>
                  <a:noFill/>
                </a:ln>
                <a:solidFill>
                  <a:srgbClr val="FFFFFF"/>
                </a:solidFill>
                <a:effectLst/>
                <a:uLnTx/>
                <a:uFillTx/>
                <a:latin typeface="Calibri"/>
                <a:ea typeface="+mn-ea"/>
                <a:cs typeface="Arial" pitchFamily="34" charset="0"/>
              </a:rPr>
              <a:t>     skills, abilities</a:t>
            </a:r>
          </a:p>
          <a:p>
            <a:pPr marL="0" marR="0" lvl="0" indent="0" algn="l" defTabSz="801688" rtl="0" eaLnBrk="1" fontAlgn="base" latinLnBrk="0" hangingPunct="1">
              <a:lnSpc>
                <a:spcPct val="100000"/>
              </a:lnSpc>
              <a:spcBef>
                <a:spcPct val="20000"/>
              </a:spcBef>
              <a:spcAft>
                <a:spcPct val="0"/>
              </a:spcAft>
              <a:buClrTx/>
              <a:buSzTx/>
              <a:buFont typeface="Wingdings" pitchFamily="2" charset="2"/>
              <a:buChar char="ü"/>
              <a:tabLst/>
              <a:defRPr/>
            </a:pPr>
            <a:r>
              <a:rPr kumimoji="0" lang="en-IN" sz="1600" b="0" i="0" u="none" strike="noStrike" kern="1200" cap="none" spc="0" normalizeH="0" baseline="0" noProof="1">
                <a:ln>
                  <a:noFill/>
                </a:ln>
                <a:solidFill>
                  <a:srgbClr val="FFFFFF"/>
                </a:solidFill>
                <a:effectLst/>
                <a:uLnTx/>
                <a:uFillTx/>
                <a:latin typeface="Calibri"/>
                <a:ea typeface="+mn-ea"/>
                <a:cs typeface="Arial" pitchFamily="34" charset="0"/>
              </a:rPr>
              <a:t> To evaluate your “fit”</a:t>
            </a:r>
            <a:br>
              <a:rPr kumimoji="0" lang="en-IN" sz="1600" b="0" i="0" u="none" strike="noStrike" kern="1200" cap="none" spc="0" normalizeH="0" baseline="0" noProof="1">
                <a:ln>
                  <a:noFill/>
                </a:ln>
                <a:solidFill>
                  <a:srgbClr val="FFFFFF"/>
                </a:solidFill>
                <a:effectLst/>
                <a:uLnTx/>
                <a:uFillTx/>
                <a:latin typeface="Calibri"/>
                <a:ea typeface="+mn-ea"/>
                <a:cs typeface="Arial" pitchFamily="34" charset="0"/>
              </a:rPr>
            </a:br>
            <a:r>
              <a:rPr kumimoji="0" lang="en-IN" sz="1600" b="0" i="0" u="none" strike="noStrike" kern="1200" cap="none" spc="0" normalizeH="0" baseline="0" noProof="1">
                <a:ln>
                  <a:noFill/>
                </a:ln>
                <a:solidFill>
                  <a:srgbClr val="FFFFFF"/>
                </a:solidFill>
                <a:effectLst/>
                <a:uLnTx/>
                <a:uFillTx/>
                <a:latin typeface="Calibri"/>
                <a:ea typeface="+mn-ea"/>
                <a:cs typeface="Arial" pitchFamily="34" charset="0"/>
              </a:rPr>
              <a:t>     with the job &amp; organization </a:t>
            </a:r>
          </a:p>
          <a:p>
            <a:pPr marL="0" marR="0" lvl="0" indent="0" algn="l" defTabSz="801688" rtl="0" eaLnBrk="1" fontAlgn="base" latinLnBrk="0" hangingPunct="1">
              <a:lnSpc>
                <a:spcPct val="100000"/>
              </a:lnSpc>
              <a:spcBef>
                <a:spcPct val="20000"/>
              </a:spcBef>
              <a:spcAft>
                <a:spcPct val="0"/>
              </a:spcAft>
              <a:buClrTx/>
              <a:buSzTx/>
              <a:buFont typeface="Wingdings" pitchFamily="2" charset="2"/>
              <a:buChar char="ü"/>
              <a:tabLst/>
              <a:defRPr/>
            </a:pPr>
            <a:r>
              <a:rPr kumimoji="0" lang="en-IN" sz="1600" b="0" i="0" u="none" strike="noStrike" kern="1200" cap="none" spc="0" normalizeH="0" baseline="0" noProof="1">
                <a:ln>
                  <a:noFill/>
                </a:ln>
                <a:solidFill>
                  <a:srgbClr val="FFFFFF"/>
                </a:solidFill>
                <a:effectLst/>
                <a:uLnTx/>
                <a:uFillTx/>
                <a:latin typeface="Calibri"/>
                <a:ea typeface="+mn-ea"/>
                <a:cs typeface="Arial" pitchFamily="34" charset="0"/>
              </a:rPr>
              <a:t> To hire the best candidate  </a:t>
            </a:r>
            <a:br>
              <a:rPr kumimoji="0" lang="en-IN" sz="1600" b="0" i="0" u="none" strike="noStrike" kern="1200" cap="none" spc="0" normalizeH="0" baseline="0" noProof="1">
                <a:ln>
                  <a:noFill/>
                </a:ln>
                <a:solidFill>
                  <a:srgbClr val="FFFFFF"/>
                </a:solidFill>
                <a:effectLst/>
                <a:uLnTx/>
                <a:uFillTx/>
                <a:latin typeface="Calibri"/>
                <a:ea typeface="+mn-ea"/>
                <a:cs typeface="Arial" pitchFamily="34" charset="0"/>
              </a:rPr>
            </a:br>
            <a:r>
              <a:rPr kumimoji="0" lang="en-IN" sz="1600" b="0" i="0" u="none" strike="noStrike" kern="1200" cap="none" spc="0" normalizeH="0" baseline="0" noProof="1">
                <a:ln>
                  <a:noFill/>
                </a:ln>
                <a:solidFill>
                  <a:srgbClr val="FFFFFF"/>
                </a:solidFill>
                <a:effectLst/>
                <a:uLnTx/>
                <a:uFillTx/>
                <a:latin typeface="Calibri"/>
                <a:ea typeface="+mn-ea"/>
                <a:cs typeface="Arial" pitchFamily="34" charset="0"/>
              </a:rPr>
              <a:t>     for the job</a:t>
            </a:r>
          </a:p>
        </p:txBody>
      </p:sp>
      <p:sp>
        <p:nvSpPr>
          <p:cNvPr id="22535" name="TextBox 33"/>
          <p:cNvSpPr txBox="1">
            <a:spLocks noChangeArrowheads="1"/>
          </p:cNvSpPr>
          <p:nvPr/>
        </p:nvSpPr>
        <p:spPr bwMode="auto">
          <a:xfrm>
            <a:off x="668024" y="1905000"/>
            <a:ext cx="596137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a:ea typeface="+mn-ea"/>
                <a:cs typeface="Arial" pitchFamily="34" charset="0"/>
              </a:rPr>
              <a:t>Understand what Interviewers look for</a:t>
            </a:r>
          </a:p>
        </p:txBody>
      </p:sp>
      <p:grpSp>
        <p:nvGrpSpPr>
          <p:cNvPr id="5" name="Group 42"/>
          <p:cNvGrpSpPr>
            <a:grpSpLocks/>
          </p:cNvGrpSpPr>
          <p:nvPr/>
        </p:nvGrpSpPr>
        <p:grpSpPr bwMode="auto">
          <a:xfrm>
            <a:off x="3048000" y="2660650"/>
            <a:ext cx="3368675" cy="2208213"/>
            <a:chOff x="3048000" y="2660264"/>
            <a:chExt cx="3368716" cy="2208606"/>
          </a:xfrm>
        </p:grpSpPr>
        <p:grpSp>
          <p:nvGrpSpPr>
            <p:cNvPr id="6" name="Group 26"/>
            <p:cNvGrpSpPr>
              <a:grpSpLocks/>
            </p:cNvGrpSpPr>
            <p:nvPr/>
          </p:nvGrpSpPr>
          <p:grpSpPr bwMode="auto">
            <a:xfrm>
              <a:off x="3318002" y="3674470"/>
              <a:ext cx="1897420" cy="1194400"/>
              <a:chOff x="1991" y="1852"/>
              <a:chExt cx="1401" cy="909"/>
            </a:xfrm>
            <a:blipFill>
              <a:blip r:embed="rId7"/>
              <a:stretch>
                <a:fillRect/>
              </a:stretch>
            </a:blipFill>
          </p:grpSpPr>
          <p:sp>
            <p:nvSpPr>
              <p:cNvPr id="37" name="Oval 60"/>
              <p:cNvSpPr>
                <a:spLocks noChangeArrowheads="1"/>
              </p:cNvSpPr>
              <p:nvPr/>
            </p:nvSpPr>
            <p:spPr bwMode="auto">
              <a:xfrm rot="2804046">
                <a:off x="2250" y="1604"/>
                <a:ext cx="883" cy="1401"/>
              </a:xfrm>
              <a:prstGeom prst="ellipse">
                <a:avLst/>
              </a:prstGeom>
              <a:grpFill/>
              <a:ln w="9525">
                <a:round/>
                <a:headEnd/>
                <a:tailEnd/>
              </a:ln>
              <a:scene3d>
                <a:camera prst="legacyObliqueBottomRight"/>
                <a:lightRig rig="legacyFlat3" dir="b"/>
              </a:scene3d>
              <a:sp3d extrusionH="430200" prstMaterial="legacyMetal">
                <a:bevelT w="13500" h="13500" prst="angle"/>
                <a:bevelB w="13500" h="13500" prst="angle"/>
                <a:extrusionClr>
                  <a:srgbClr val="FFFFFF"/>
                </a:extrusionClr>
              </a:sp3d>
            </p:spPr>
            <p:txBody>
              <a:bodyPr rot="10800000" vert="eaVert" wrap="none" anchor="ctr">
                <a:flatTx/>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1">
                  <a:ln>
                    <a:noFill/>
                  </a:ln>
                  <a:solidFill>
                    <a:prstClr val="black"/>
                  </a:solidFill>
                  <a:effectLst/>
                  <a:uLnTx/>
                  <a:uFillTx/>
                  <a:latin typeface="Calibri"/>
                  <a:ea typeface="+mn-ea"/>
                  <a:cs typeface="Arial" pitchFamily="34" charset="0"/>
                </a:endParaRPr>
              </a:p>
            </p:txBody>
          </p:sp>
          <p:sp>
            <p:nvSpPr>
              <p:cNvPr id="38" name="Oval 28"/>
              <p:cNvSpPr>
                <a:spLocks noChangeArrowheads="1"/>
              </p:cNvSpPr>
              <p:nvPr/>
            </p:nvSpPr>
            <p:spPr bwMode="auto">
              <a:xfrm rot="-2583413">
                <a:off x="1994" y="1852"/>
                <a:ext cx="1398" cy="909"/>
              </a:xfrm>
              <a:prstGeom prst="ellipse">
                <a:avLst/>
              </a:prstGeom>
              <a:grpFill/>
              <a:ln w="9525">
                <a:no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Arial" pitchFamily="34" charset="0"/>
                </a:endParaRPr>
              </a:p>
            </p:txBody>
          </p:sp>
        </p:grpSp>
        <p:sp>
          <p:nvSpPr>
            <p:cNvPr id="39" name="Freeform 46"/>
            <p:cNvSpPr>
              <a:spLocks/>
            </p:cNvSpPr>
            <p:nvPr/>
          </p:nvSpPr>
          <p:spPr bwMode="auto">
            <a:xfrm>
              <a:off x="5791233" y="3387468"/>
              <a:ext cx="354017" cy="1335326"/>
            </a:xfrm>
            <a:custGeom>
              <a:avLst/>
              <a:gdLst>
                <a:gd name="T0" fmla="*/ 0 w 179"/>
                <a:gd name="T1" fmla="*/ 2147483647 h 696"/>
                <a:gd name="T2" fmla="*/ 1017188147 w 179"/>
                <a:gd name="T3" fmla="*/ 2147483647 h 696"/>
                <a:gd name="T4" fmla="*/ 2147483647 w 179"/>
                <a:gd name="T5" fmla="*/ 2147483647 h 696"/>
                <a:gd name="T6" fmla="*/ 2147483647 w 179"/>
                <a:gd name="T7" fmla="*/ 1536291239 h 696"/>
                <a:gd name="T8" fmla="*/ 1549998159 w 179"/>
                <a:gd name="T9" fmla="*/ 0 h 696"/>
                <a:gd name="T10" fmla="*/ 0 w 179"/>
                <a:gd name="T11" fmla="*/ 2147483647 h 696"/>
                <a:gd name="T12" fmla="*/ 0 60000 65536"/>
                <a:gd name="T13" fmla="*/ 0 60000 65536"/>
                <a:gd name="T14" fmla="*/ 0 60000 65536"/>
                <a:gd name="T15" fmla="*/ 0 60000 65536"/>
                <a:gd name="T16" fmla="*/ 0 60000 65536"/>
                <a:gd name="T17" fmla="*/ 0 60000 65536"/>
                <a:gd name="T18" fmla="*/ 0 w 179"/>
                <a:gd name="T19" fmla="*/ 0 h 696"/>
                <a:gd name="T20" fmla="*/ 179 w 179"/>
                <a:gd name="T21" fmla="*/ 696 h 696"/>
              </a:gdLst>
              <a:ahLst/>
              <a:cxnLst>
                <a:cxn ang="T12">
                  <a:pos x="T0" y="T1"/>
                </a:cxn>
                <a:cxn ang="T13">
                  <a:pos x="T2" y="T3"/>
                </a:cxn>
                <a:cxn ang="T14">
                  <a:pos x="T4" y="T5"/>
                </a:cxn>
                <a:cxn ang="T15">
                  <a:pos x="T6" y="T7"/>
                </a:cxn>
                <a:cxn ang="T16">
                  <a:pos x="T8" y="T9"/>
                </a:cxn>
                <a:cxn ang="T17">
                  <a:pos x="T10" y="T11"/>
                </a:cxn>
              </a:cxnLst>
              <a:rect l="T18" t="T19" r="T20" b="T21"/>
              <a:pathLst>
                <a:path w="179" h="696">
                  <a:moveTo>
                    <a:pt x="0" y="630"/>
                  </a:moveTo>
                  <a:cubicBezTo>
                    <a:pt x="19" y="659"/>
                    <a:pt x="42" y="696"/>
                    <a:pt x="42" y="696"/>
                  </a:cubicBezTo>
                  <a:cubicBezTo>
                    <a:pt x="42" y="696"/>
                    <a:pt x="134" y="518"/>
                    <a:pt x="139" y="315"/>
                  </a:cubicBezTo>
                  <a:cubicBezTo>
                    <a:pt x="146" y="172"/>
                    <a:pt x="91" y="63"/>
                    <a:pt x="91" y="63"/>
                  </a:cubicBezTo>
                  <a:cubicBezTo>
                    <a:pt x="64" y="0"/>
                    <a:pt x="64" y="0"/>
                    <a:pt x="64" y="0"/>
                  </a:cubicBezTo>
                  <a:cubicBezTo>
                    <a:pt x="64" y="0"/>
                    <a:pt x="179" y="245"/>
                    <a:pt x="0" y="630"/>
                  </a:cubicBezTo>
                  <a:close/>
                </a:path>
              </a:pathLst>
            </a:custGeom>
            <a:solidFill>
              <a:schemeClr val="accent2">
                <a:lumMod val="75000"/>
              </a:schemeClr>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1">
                <a:ln>
                  <a:noFill/>
                </a:ln>
                <a:solidFill>
                  <a:prstClr val="black"/>
                </a:solidFill>
                <a:effectLst/>
                <a:uLnTx/>
                <a:uFillTx/>
                <a:latin typeface="Arial" charset="0"/>
                <a:ea typeface="+mn-ea"/>
                <a:cs typeface="Arial" pitchFamily="34" charset="0"/>
              </a:endParaRPr>
            </a:p>
          </p:txBody>
        </p:sp>
        <p:grpSp>
          <p:nvGrpSpPr>
            <p:cNvPr id="7" name="Group 22"/>
            <p:cNvGrpSpPr>
              <a:grpSpLocks/>
            </p:cNvGrpSpPr>
            <p:nvPr/>
          </p:nvGrpSpPr>
          <p:grpSpPr bwMode="auto">
            <a:xfrm>
              <a:off x="3048000" y="2660264"/>
              <a:ext cx="3368716" cy="2064136"/>
              <a:chOff x="606" y="1010"/>
              <a:chExt cx="2451" cy="1473"/>
            </a:xfrm>
            <a:solidFill>
              <a:schemeClr val="accent2">
                <a:lumMod val="75000"/>
              </a:schemeClr>
            </a:solidFill>
          </p:grpSpPr>
          <p:sp>
            <p:nvSpPr>
              <p:cNvPr id="41" name="Freeform 45"/>
              <p:cNvSpPr>
                <a:spLocks/>
              </p:cNvSpPr>
              <p:nvPr/>
            </p:nvSpPr>
            <p:spPr bwMode="auto">
              <a:xfrm>
                <a:off x="606" y="1010"/>
                <a:ext cx="2451" cy="1473"/>
              </a:xfrm>
              <a:custGeom>
                <a:avLst/>
                <a:gdLst>
                  <a:gd name="T0" fmla="*/ 2147483647 w 1678"/>
                  <a:gd name="T1" fmla="*/ 2147483647 h 1010"/>
                  <a:gd name="T2" fmla="*/ 2147483647 w 1678"/>
                  <a:gd name="T3" fmla="*/ 2147483647 h 1010"/>
                  <a:gd name="T4" fmla="*/ 2147483647 w 1678"/>
                  <a:gd name="T5" fmla="*/ 2147483647 h 1010"/>
                  <a:gd name="T6" fmla="*/ 0 w 1678"/>
                  <a:gd name="T7" fmla="*/ 2147483647 h 1010"/>
                  <a:gd name="T8" fmla="*/ 2147483647 w 1678"/>
                  <a:gd name="T9" fmla="*/ 1527764942 h 1010"/>
                  <a:gd name="T10" fmla="*/ 2147483647 w 1678"/>
                  <a:gd name="T11" fmla="*/ 2147483647 h 1010"/>
                  <a:gd name="T12" fmla="*/ 2147483647 w 1678"/>
                  <a:gd name="T13" fmla="*/ 2147483647 h 1010"/>
                  <a:gd name="T14" fmla="*/ 0 60000 65536"/>
                  <a:gd name="T15" fmla="*/ 0 60000 65536"/>
                  <a:gd name="T16" fmla="*/ 0 60000 65536"/>
                  <a:gd name="T17" fmla="*/ 0 60000 65536"/>
                  <a:gd name="T18" fmla="*/ 0 60000 65536"/>
                  <a:gd name="T19" fmla="*/ 0 60000 65536"/>
                  <a:gd name="T20" fmla="*/ 0 60000 65536"/>
                  <a:gd name="T21" fmla="*/ 0 w 1678"/>
                  <a:gd name="T22" fmla="*/ 0 h 1010"/>
                  <a:gd name="T23" fmla="*/ 1678 w 1678"/>
                  <a:gd name="T24" fmla="*/ 1010 h 10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78" h="1010">
                    <a:moveTo>
                      <a:pt x="1162" y="936"/>
                    </a:moveTo>
                    <a:cubicBezTo>
                      <a:pt x="1222" y="836"/>
                      <a:pt x="1371" y="388"/>
                      <a:pt x="985" y="252"/>
                    </a:cubicBezTo>
                    <a:cubicBezTo>
                      <a:pt x="471" y="122"/>
                      <a:pt x="116" y="637"/>
                      <a:pt x="116" y="637"/>
                    </a:cubicBezTo>
                    <a:cubicBezTo>
                      <a:pt x="116" y="637"/>
                      <a:pt x="116" y="637"/>
                      <a:pt x="0" y="603"/>
                    </a:cubicBezTo>
                    <a:cubicBezTo>
                      <a:pt x="272" y="215"/>
                      <a:pt x="727" y="0"/>
                      <a:pt x="1077" y="63"/>
                    </a:cubicBezTo>
                    <a:cubicBezTo>
                      <a:pt x="1416" y="123"/>
                      <a:pt x="1678" y="452"/>
                      <a:pt x="1422" y="1010"/>
                    </a:cubicBezTo>
                    <a:cubicBezTo>
                      <a:pt x="1357" y="994"/>
                      <a:pt x="1209" y="950"/>
                      <a:pt x="1162" y="936"/>
                    </a:cubicBez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1">
                  <a:ln>
                    <a:noFill/>
                  </a:ln>
                  <a:solidFill>
                    <a:prstClr val="black"/>
                  </a:solidFill>
                  <a:effectLst/>
                  <a:uLnTx/>
                  <a:uFillTx/>
                  <a:latin typeface="Arial" charset="0"/>
                  <a:ea typeface="+mn-ea"/>
                  <a:cs typeface="Arial" pitchFamily="34" charset="0"/>
                </a:endParaRPr>
              </a:p>
            </p:txBody>
          </p:sp>
          <p:sp>
            <p:nvSpPr>
              <p:cNvPr id="42" name="Freeform 47"/>
              <p:cNvSpPr>
                <a:spLocks/>
              </p:cNvSpPr>
              <p:nvPr/>
            </p:nvSpPr>
            <p:spPr bwMode="auto">
              <a:xfrm>
                <a:off x="775" y="1131"/>
                <a:ext cx="1606" cy="826"/>
              </a:xfrm>
              <a:custGeom>
                <a:avLst/>
                <a:gdLst>
                  <a:gd name="T0" fmla="*/ 2147483647 w 1100"/>
                  <a:gd name="T1" fmla="*/ 2147483647 h 565"/>
                  <a:gd name="T2" fmla="*/ 0 w 1100"/>
                  <a:gd name="T3" fmla="*/ 2147483647 h 565"/>
                  <a:gd name="T4" fmla="*/ 1318062186 w 1100"/>
                  <a:gd name="T5" fmla="*/ 2147483647 h 565"/>
                  <a:gd name="T6" fmla="*/ 2147483647 w 1100"/>
                  <a:gd name="T7" fmla="*/ 2147483647 h 565"/>
                  <a:gd name="T8" fmla="*/ 2147483647 w 1100"/>
                  <a:gd name="T9" fmla="*/ 2147483647 h 565"/>
                  <a:gd name="T10" fmla="*/ 2147483647 w 1100"/>
                  <a:gd name="T11" fmla="*/ 2147483647 h 565"/>
                  <a:gd name="T12" fmla="*/ 0 60000 65536"/>
                  <a:gd name="T13" fmla="*/ 0 60000 65536"/>
                  <a:gd name="T14" fmla="*/ 0 60000 65536"/>
                  <a:gd name="T15" fmla="*/ 0 60000 65536"/>
                  <a:gd name="T16" fmla="*/ 0 60000 65536"/>
                  <a:gd name="T17" fmla="*/ 0 60000 65536"/>
                  <a:gd name="T18" fmla="*/ 0 w 1100"/>
                  <a:gd name="T19" fmla="*/ 0 h 565"/>
                  <a:gd name="T20" fmla="*/ 1100 w 1100"/>
                  <a:gd name="T21" fmla="*/ 565 h 565"/>
                </a:gdLst>
                <a:ahLst/>
                <a:cxnLst>
                  <a:cxn ang="T12">
                    <a:pos x="T0" y="T1"/>
                  </a:cxn>
                  <a:cxn ang="T13">
                    <a:pos x="T2" y="T3"/>
                  </a:cxn>
                  <a:cxn ang="T14">
                    <a:pos x="T4" y="T5"/>
                  </a:cxn>
                  <a:cxn ang="T15">
                    <a:pos x="T6" y="T7"/>
                  </a:cxn>
                  <a:cxn ang="T16">
                    <a:pos x="T8" y="T9"/>
                  </a:cxn>
                  <a:cxn ang="T17">
                    <a:pos x="T10" y="T11"/>
                  </a:cxn>
                </a:cxnLst>
                <a:rect l="T18" t="T19" r="T20" b="T21"/>
                <a:pathLst>
                  <a:path w="1100" h="565">
                    <a:moveTo>
                      <a:pt x="869" y="130"/>
                    </a:moveTo>
                    <a:cubicBezTo>
                      <a:pt x="355" y="0"/>
                      <a:pt x="0" y="515"/>
                      <a:pt x="0" y="515"/>
                    </a:cubicBezTo>
                    <a:cubicBezTo>
                      <a:pt x="0" y="515"/>
                      <a:pt x="0" y="515"/>
                      <a:pt x="54" y="565"/>
                    </a:cubicBezTo>
                    <a:cubicBezTo>
                      <a:pt x="279" y="285"/>
                      <a:pt x="580" y="120"/>
                      <a:pt x="866" y="186"/>
                    </a:cubicBezTo>
                    <a:cubicBezTo>
                      <a:pt x="1050" y="226"/>
                      <a:pt x="1100" y="347"/>
                      <a:pt x="1100" y="347"/>
                    </a:cubicBezTo>
                    <a:cubicBezTo>
                      <a:pt x="1084" y="303"/>
                      <a:pt x="1043" y="192"/>
                      <a:pt x="869" y="130"/>
                    </a:cubicBez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1">
                  <a:ln>
                    <a:noFill/>
                  </a:ln>
                  <a:solidFill>
                    <a:prstClr val="black"/>
                  </a:solidFill>
                  <a:effectLst/>
                  <a:uLnTx/>
                  <a:uFillTx/>
                  <a:latin typeface="Arial" charset="0"/>
                  <a:ea typeface="+mn-ea"/>
                  <a:cs typeface="Arial" pitchFamily="34" charset="0"/>
                </a:endParaRPr>
              </a:p>
            </p:txBody>
          </p:sp>
        </p:grpSp>
      </p:grpSp>
      <p:sp>
        <p:nvSpPr>
          <p:cNvPr id="22536" name="Rectangle 43"/>
          <p:cNvSpPr>
            <a:spLocks noChangeArrowheads="1"/>
          </p:cNvSpPr>
          <p:nvPr/>
        </p:nvSpPr>
        <p:spPr bwMode="auto">
          <a:xfrm>
            <a:off x="685800" y="2362200"/>
            <a:ext cx="45720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Arial" pitchFamily="34" charset="0"/>
              </a:rPr>
              <a:t>Remember… Employers’ &amp; Your Goals</a:t>
            </a:r>
          </a:p>
        </p:txBody>
      </p:sp>
      <p:pic>
        <p:nvPicPr>
          <p:cNvPr id="24" name="Picture 23">
            <a:extLst>
              <a:ext uri="{FF2B5EF4-FFF2-40B4-BE49-F238E27FC236}">
                <a16:creationId xmlns:a16="http://schemas.microsoft.com/office/drawing/2014/main" id="{BB09B2B4-3621-4EF7-B5FE-27F02CDB32A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517722" y="44624"/>
            <a:ext cx="1604791" cy="1479376"/>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p14:dur="10" advClick="0" advTm="26000">
        <p:fade/>
      </p:transition>
    </mc:Choice>
    <mc:Fallback xmlns="">
      <p:transition advClick="0" advTm="26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55" presetClass="entr" presetSubtype="0" fill="hold" nodeType="afterEffect">
                                  <p:stCondLst>
                                    <p:cond delay="150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strVal val="#ppt_w*0.70"/>
                                          </p:val>
                                        </p:tav>
                                        <p:tav tm="100000">
                                          <p:val>
                                            <p:strVal val="#ppt_w"/>
                                          </p:val>
                                        </p:tav>
                                      </p:tavLst>
                                    </p:anim>
                                    <p:anim calcmode="lin" valueType="num">
                                      <p:cBhvr>
                                        <p:cTn id="8" dur="1000" fill="hold"/>
                                        <p:tgtEl>
                                          <p:spTgt spid="5"/>
                                        </p:tgtEl>
                                        <p:attrNameLst>
                                          <p:attrName>ppt_h</p:attrName>
                                        </p:attrNameLst>
                                      </p:cBhvr>
                                      <p:tavLst>
                                        <p:tav tm="0">
                                          <p:val>
                                            <p:strVal val="#ppt_h"/>
                                          </p:val>
                                        </p:tav>
                                        <p:tav tm="100000">
                                          <p:val>
                                            <p:strVal val="#ppt_h"/>
                                          </p:val>
                                        </p:tav>
                                      </p:tavLst>
                                    </p:anim>
                                    <p:animEffect transition="in" filter="fade">
                                      <p:cBhvr>
                                        <p:cTn id="9" dur="1000"/>
                                        <p:tgtEl>
                                          <p:spTgt spid="5"/>
                                        </p:tgtEl>
                                      </p:cBhvr>
                                    </p:animEffect>
                                  </p:childTnLst>
                                </p:cTn>
                              </p:par>
                            </p:childTnLst>
                          </p:cTn>
                        </p:par>
                        <p:par>
                          <p:cTn id="10" fill="hold">
                            <p:stCondLst>
                              <p:cond delay="2500"/>
                            </p:stCondLst>
                            <p:childTnLst>
                              <p:par>
                                <p:cTn id="11" presetID="55" presetClass="entr" presetSubtype="0" fill="hold" grpId="0" nodeType="afterEffect">
                                  <p:stCondLst>
                                    <p:cond delay="0"/>
                                  </p:stCondLst>
                                  <p:childTnLst>
                                    <p:set>
                                      <p:cBhvr>
                                        <p:cTn id="12" dur="1" fill="hold">
                                          <p:stCondLst>
                                            <p:cond delay="0"/>
                                          </p:stCondLst>
                                        </p:cTn>
                                        <p:tgtEl>
                                          <p:spTgt spid="333826"/>
                                        </p:tgtEl>
                                        <p:attrNameLst>
                                          <p:attrName>style.visibility</p:attrName>
                                        </p:attrNameLst>
                                      </p:cBhvr>
                                      <p:to>
                                        <p:strVal val="visible"/>
                                      </p:to>
                                    </p:set>
                                    <p:anim calcmode="lin" valueType="num">
                                      <p:cBhvr>
                                        <p:cTn id="13" dur="1000" fill="hold"/>
                                        <p:tgtEl>
                                          <p:spTgt spid="333826"/>
                                        </p:tgtEl>
                                        <p:attrNameLst>
                                          <p:attrName>ppt_w</p:attrName>
                                        </p:attrNameLst>
                                      </p:cBhvr>
                                      <p:tavLst>
                                        <p:tav tm="0">
                                          <p:val>
                                            <p:strVal val="#ppt_w*0.70"/>
                                          </p:val>
                                        </p:tav>
                                        <p:tav tm="100000">
                                          <p:val>
                                            <p:strVal val="#ppt_w"/>
                                          </p:val>
                                        </p:tav>
                                      </p:tavLst>
                                    </p:anim>
                                    <p:anim calcmode="lin" valueType="num">
                                      <p:cBhvr>
                                        <p:cTn id="14" dur="1000" fill="hold"/>
                                        <p:tgtEl>
                                          <p:spTgt spid="333826"/>
                                        </p:tgtEl>
                                        <p:attrNameLst>
                                          <p:attrName>ppt_h</p:attrName>
                                        </p:attrNameLst>
                                      </p:cBhvr>
                                      <p:tavLst>
                                        <p:tav tm="0">
                                          <p:val>
                                            <p:strVal val="#ppt_h"/>
                                          </p:val>
                                        </p:tav>
                                        <p:tav tm="100000">
                                          <p:val>
                                            <p:strVal val="#ppt_h"/>
                                          </p:val>
                                        </p:tav>
                                      </p:tavLst>
                                    </p:anim>
                                    <p:animEffect transition="in" filter="fade">
                                      <p:cBhvr>
                                        <p:cTn id="15" dur="1000"/>
                                        <p:tgtEl>
                                          <p:spTgt spid="333826"/>
                                        </p:tgtEl>
                                      </p:cBhvr>
                                    </p:animEffect>
                                  </p:childTnLst>
                                </p:cTn>
                              </p:par>
                              <p:par>
                                <p:cTn id="16" presetID="55" presetClass="entr" presetSubtype="0" fill="hold" grpId="0" nodeType="withEffect">
                                  <p:stCondLst>
                                    <p:cond delay="0"/>
                                  </p:stCondLst>
                                  <p:childTnLst>
                                    <p:set>
                                      <p:cBhvr>
                                        <p:cTn id="17" dur="1" fill="hold">
                                          <p:stCondLst>
                                            <p:cond delay="0"/>
                                          </p:stCondLst>
                                        </p:cTn>
                                        <p:tgtEl>
                                          <p:spTgt spid="22543">
                                            <p:txEl>
                                              <p:pRg st="0" end="0"/>
                                            </p:txEl>
                                          </p:spTgt>
                                        </p:tgtEl>
                                        <p:attrNameLst>
                                          <p:attrName>style.visibility</p:attrName>
                                        </p:attrNameLst>
                                      </p:cBhvr>
                                      <p:to>
                                        <p:strVal val="visible"/>
                                      </p:to>
                                    </p:set>
                                    <p:anim calcmode="lin" valueType="num">
                                      <p:cBhvr>
                                        <p:cTn id="18" dur="1000" fill="hold"/>
                                        <p:tgtEl>
                                          <p:spTgt spid="22543">
                                            <p:txEl>
                                              <p:pRg st="0" end="0"/>
                                            </p:txEl>
                                          </p:spTgt>
                                        </p:tgtEl>
                                        <p:attrNameLst>
                                          <p:attrName>ppt_w</p:attrName>
                                        </p:attrNameLst>
                                      </p:cBhvr>
                                      <p:tavLst>
                                        <p:tav tm="0">
                                          <p:val>
                                            <p:strVal val="#ppt_w*0.70"/>
                                          </p:val>
                                        </p:tav>
                                        <p:tav tm="100000">
                                          <p:val>
                                            <p:strVal val="#ppt_w"/>
                                          </p:val>
                                        </p:tav>
                                      </p:tavLst>
                                    </p:anim>
                                    <p:anim calcmode="lin" valueType="num">
                                      <p:cBhvr>
                                        <p:cTn id="19" dur="1000" fill="hold"/>
                                        <p:tgtEl>
                                          <p:spTgt spid="22543">
                                            <p:txEl>
                                              <p:pRg st="0" end="0"/>
                                            </p:txEl>
                                          </p:spTgt>
                                        </p:tgtEl>
                                        <p:attrNameLst>
                                          <p:attrName>ppt_h</p:attrName>
                                        </p:attrNameLst>
                                      </p:cBhvr>
                                      <p:tavLst>
                                        <p:tav tm="0">
                                          <p:val>
                                            <p:strVal val="#ppt_h"/>
                                          </p:val>
                                        </p:tav>
                                        <p:tav tm="100000">
                                          <p:val>
                                            <p:strVal val="#ppt_h"/>
                                          </p:val>
                                        </p:tav>
                                      </p:tavLst>
                                    </p:anim>
                                    <p:animEffect transition="in" filter="fade">
                                      <p:cBhvr>
                                        <p:cTn id="20" dur="1000"/>
                                        <p:tgtEl>
                                          <p:spTgt spid="22543">
                                            <p:txEl>
                                              <p:pRg st="0" end="0"/>
                                            </p:txEl>
                                          </p:spTgt>
                                        </p:tgtEl>
                                      </p:cBhvr>
                                    </p:animEffect>
                                  </p:childTnLst>
                                </p:cTn>
                              </p:par>
                            </p:childTnLst>
                          </p:cTn>
                        </p:par>
                        <p:par>
                          <p:cTn id="21" fill="hold">
                            <p:stCondLst>
                              <p:cond delay="3500"/>
                            </p:stCondLst>
                            <p:childTnLst>
                              <p:par>
                                <p:cTn id="22" presetID="55" presetClass="entr" presetSubtype="0" fill="hold" grpId="0" nodeType="afterEffect">
                                  <p:stCondLst>
                                    <p:cond delay="1000"/>
                                  </p:stCondLst>
                                  <p:childTnLst>
                                    <p:set>
                                      <p:cBhvr>
                                        <p:cTn id="23" dur="1" fill="hold">
                                          <p:stCondLst>
                                            <p:cond delay="0"/>
                                          </p:stCondLst>
                                        </p:cTn>
                                        <p:tgtEl>
                                          <p:spTgt spid="22543">
                                            <p:txEl>
                                              <p:pRg st="1" end="1"/>
                                            </p:txEl>
                                          </p:spTgt>
                                        </p:tgtEl>
                                        <p:attrNameLst>
                                          <p:attrName>style.visibility</p:attrName>
                                        </p:attrNameLst>
                                      </p:cBhvr>
                                      <p:to>
                                        <p:strVal val="visible"/>
                                      </p:to>
                                    </p:set>
                                    <p:anim calcmode="lin" valueType="num">
                                      <p:cBhvr>
                                        <p:cTn id="24" dur="1000" fill="hold"/>
                                        <p:tgtEl>
                                          <p:spTgt spid="22543">
                                            <p:txEl>
                                              <p:pRg st="1" end="1"/>
                                            </p:txEl>
                                          </p:spTgt>
                                        </p:tgtEl>
                                        <p:attrNameLst>
                                          <p:attrName>ppt_w</p:attrName>
                                        </p:attrNameLst>
                                      </p:cBhvr>
                                      <p:tavLst>
                                        <p:tav tm="0">
                                          <p:val>
                                            <p:strVal val="#ppt_w*0.70"/>
                                          </p:val>
                                        </p:tav>
                                        <p:tav tm="100000">
                                          <p:val>
                                            <p:strVal val="#ppt_w"/>
                                          </p:val>
                                        </p:tav>
                                      </p:tavLst>
                                    </p:anim>
                                    <p:anim calcmode="lin" valueType="num">
                                      <p:cBhvr>
                                        <p:cTn id="25" dur="1000" fill="hold"/>
                                        <p:tgtEl>
                                          <p:spTgt spid="22543">
                                            <p:txEl>
                                              <p:pRg st="1" end="1"/>
                                            </p:txEl>
                                          </p:spTgt>
                                        </p:tgtEl>
                                        <p:attrNameLst>
                                          <p:attrName>ppt_h</p:attrName>
                                        </p:attrNameLst>
                                      </p:cBhvr>
                                      <p:tavLst>
                                        <p:tav tm="0">
                                          <p:val>
                                            <p:strVal val="#ppt_h"/>
                                          </p:val>
                                        </p:tav>
                                        <p:tav tm="100000">
                                          <p:val>
                                            <p:strVal val="#ppt_h"/>
                                          </p:val>
                                        </p:tav>
                                      </p:tavLst>
                                    </p:anim>
                                    <p:animEffect transition="in" filter="fade">
                                      <p:cBhvr>
                                        <p:cTn id="26" dur="1000"/>
                                        <p:tgtEl>
                                          <p:spTgt spid="22543">
                                            <p:txEl>
                                              <p:pRg st="1" end="1"/>
                                            </p:txEl>
                                          </p:spTgt>
                                        </p:tgtEl>
                                      </p:cBhvr>
                                    </p:animEffect>
                                  </p:childTnLst>
                                </p:cTn>
                              </p:par>
                            </p:childTnLst>
                          </p:cTn>
                        </p:par>
                        <p:par>
                          <p:cTn id="27" fill="hold">
                            <p:stCondLst>
                              <p:cond delay="5500"/>
                            </p:stCondLst>
                            <p:childTnLst>
                              <p:par>
                                <p:cTn id="28" presetID="55" presetClass="entr" presetSubtype="0" fill="hold" grpId="0" nodeType="afterEffect">
                                  <p:stCondLst>
                                    <p:cond delay="2000"/>
                                  </p:stCondLst>
                                  <p:childTnLst>
                                    <p:set>
                                      <p:cBhvr>
                                        <p:cTn id="29" dur="1" fill="hold">
                                          <p:stCondLst>
                                            <p:cond delay="0"/>
                                          </p:stCondLst>
                                        </p:cTn>
                                        <p:tgtEl>
                                          <p:spTgt spid="22543">
                                            <p:txEl>
                                              <p:pRg st="2" end="2"/>
                                            </p:txEl>
                                          </p:spTgt>
                                        </p:tgtEl>
                                        <p:attrNameLst>
                                          <p:attrName>style.visibility</p:attrName>
                                        </p:attrNameLst>
                                      </p:cBhvr>
                                      <p:to>
                                        <p:strVal val="visible"/>
                                      </p:to>
                                    </p:set>
                                    <p:anim calcmode="lin" valueType="num">
                                      <p:cBhvr>
                                        <p:cTn id="30" dur="1000" fill="hold"/>
                                        <p:tgtEl>
                                          <p:spTgt spid="22543">
                                            <p:txEl>
                                              <p:pRg st="2" end="2"/>
                                            </p:txEl>
                                          </p:spTgt>
                                        </p:tgtEl>
                                        <p:attrNameLst>
                                          <p:attrName>ppt_w</p:attrName>
                                        </p:attrNameLst>
                                      </p:cBhvr>
                                      <p:tavLst>
                                        <p:tav tm="0">
                                          <p:val>
                                            <p:strVal val="#ppt_w*0.70"/>
                                          </p:val>
                                        </p:tav>
                                        <p:tav tm="100000">
                                          <p:val>
                                            <p:strVal val="#ppt_w"/>
                                          </p:val>
                                        </p:tav>
                                      </p:tavLst>
                                    </p:anim>
                                    <p:anim calcmode="lin" valueType="num">
                                      <p:cBhvr>
                                        <p:cTn id="31" dur="1000" fill="hold"/>
                                        <p:tgtEl>
                                          <p:spTgt spid="22543">
                                            <p:txEl>
                                              <p:pRg st="2" end="2"/>
                                            </p:txEl>
                                          </p:spTgt>
                                        </p:tgtEl>
                                        <p:attrNameLst>
                                          <p:attrName>ppt_h</p:attrName>
                                        </p:attrNameLst>
                                      </p:cBhvr>
                                      <p:tavLst>
                                        <p:tav tm="0">
                                          <p:val>
                                            <p:strVal val="#ppt_h"/>
                                          </p:val>
                                        </p:tav>
                                        <p:tav tm="100000">
                                          <p:val>
                                            <p:strVal val="#ppt_h"/>
                                          </p:val>
                                        </p:tav>
                                      </p:tavLst>
                                    </p:anim>
                                    <p:animEffect transition="in" filter="fade">
                                      <p:cBhvr>
                                        <p:cTn id="32" dur="1000"/>
                                        <p:tgtEl>
                                          <p:spTgt spid="22543">
                                            <p:txEl>
                                              <p:pRg st="2" end="2"/>
                                            </p:txEl>
                                          </p:spTgt>
                                        </p:tgtEl>
                                      </p:cBhvr>
                                    </p:animEffect>
                                  </p:childTnLst>
                                </p:cTn>
                              </p:par>
                            </p:childTnLst>
                          </p:cTn>
                        </p:par>
                        <p:par>
                          <p:cTn id="33" fill="hold">
                            <p:stCondLst>
                              <p:cond delay="8500"/>
                            </p:stCondLst>
                            <p:childTnLst>
                              <p:par>
                                <p:cTn id="34" presetID="55" presetClass="entr" presetSubtype="0" fill="hold" grpId="0" nodeType="afterEffect">
                                  <p:stCondLst>
                                    <p:cond delay="3000"/>
                                  </p:stCondLst>
                                  <p:childTnLst>
                                    <p:set>
                                      <p:cBhvr>
                                        <p:cTn id="35" dur="1" fill="hold">
                                          <p:stCondLst>
                                            <p:cond delay="0"/>
                                          </p:stCondLst>
                                        </p:cTn>
                                        <p:tgtEl>
                                          <p:spTgt spid="22543">
                                            <p:txEl>
                                              <p:pRg st="3" end="3"/>
                                            </p:txEl>
                                          </p:spTgt>
                                        </p:tgtEl>
                                        <p:attrNameLst>
                                          <p:attrName>style.visibility</p:attrName>
                                        </p:attrNameLst>
                                      </p:cBhvr>
                                      <p:to>
                                        <p:strVal val="visible"/>
                                      </p:to>
                                    </p:set>
                                    <p:anim calcmode="lin" valueType="num">
                                      <p:cBhvr>
                                        <p:cTn id="36" dur="1000" fill="hold"/>
                                        <p:tgtEl>
                                          <p:spTgt spid="22543">
                                            <p:txEl>
                                              <p:pRg st="3" end="3"/>
                                            </p:txEl>
                                          </p:spTgt>
                                        </p:tgtEl>
                                        <p:attrNameLst>
                                          <p:attrName>ppt_w</p:attrName>
                                        </p:attrNameLst>
                                      </p:cBhvr>
                                      <p:tavLst>
                                        <p:tav tm="0">
                                          <p:val>
                                            <p:strVal val="#ppt_w*0.70"/>
                                          </p:val>
                                        </p:tav>
                                        <p:tav tm="100000">
                                          <p:val>
                                            <p:strVal val="#ppt_w"/>
                                          </p:val>
                                        </p:tav>
                                      </p:tavLst>
                                    </p:anim>
                                    <p:anim calcmode="lin" valueType="num">
                                      <p:cBhvr>
                                        <p:cTn id="37" dur="1000" fill="hold"/>
                                        <p:tgtEl>
                                          <p:spTgt spid="22543">
                                            <p:txEl>
                                              <p:pRg st="3" end="3"/>
                                            </p:txEl>
                                          </p:spTgt>
                                        </p:tgtEl>
                                        <p:attrNameLst>
                                          <p:attrName>ppt_h</p:attrName>
                                        </p:attrNameLst>
                                      </p:cBhvr>
                                      <p:tavLst>
                                        <p:tav tm="0">
                                          <p:val>
                                            <p:strVal val="#ppt_h"/>
                                          </p:val>
                                        </p:tav>
                                        <p:tav tm="100000">
                                          <p:val>
                                            <p:strVal val="#ppt_h"/>
                                          </p:val>
                                        </p:tav>
                                      </p:tavLst>
                                    </p:anim>
                                    <p:animEffect transition="in" filter="fade">
                                      <p:cBhvr>
                                        <p:cTn id="38" dur="1000"/>
                                        <p:tgtEl>
                                          <p:spTgt spid="22543">
                                            <p:txEl>
                                              <p:pRg st="3" end="3"/>
                                            </p:txEl>
                                          </p:spTgt>
                                        </p:tgtEl>
                                      </p:cBhvr>
                                    </p:animEffect>
                                  </p:childTnLst>
                                </p:cTn>
                              </p:par>
                            </p:childTnLst>
                          </p:cTn>
                        </p:par>
                        <p:par>
                          <p:cTn id="39" fill="hold">
                            <p:stCondLst>
                              <p:cond delay="12500"/>
                            </p:stCondLst>
                            <p:childTnLst>
                              <p:par>
                                <p:cTn id="40" presetID="55" presetClass="entr" presetSubtype="0" fill="hold" nodeType="afterEffect">
                                  <p:stCondLst>
                                    <p:cond delay="1500"/>
                                  </p:stCondLst>
                                  <p:childTnLst>
                                    <p:set>
                                      <p:cBhvr>
                                        <p:cTn id="41" dur="1" fill="hold">
                                          <p:stCondLst>
                                            <p:cond delay="0"/>
                                          </p:stCondLst>
                                        </p:cTn>
                                        <p:tgtEl>
                                          <p:spTgt spid="2"/>
                                        </p:tgtEl>
                                        <p:attrNameLst>
                                          <p:attrName>style.visibility</p:attrName>
                                        </p:attrNameLst>
                                      </p:cBhvr>
                                      <p:to>
                                        <p:strVal val="visible"/>
                                      </p:to>
                                    </p:set>
                                    <p:anim calcmode="lin" valueType="num">
                                      <p:cBhvr>
                                        <p:cTn id="42" dur="1000" fill="hold"/>
                                        <p:tgtEl>
                                          <p:spTgt spid="2"/>
                                        </p:tgtEl>
                                        <p:attrNameLst>
                                          <p:attrName>ppt_w</p:attrName>
                                        </p:attrNameLst>
                                      </p:cBhvr>
                                      <p:tavLst>
                                        <p:tav tm="0">
                                          <p:val>
                                            <p:strVal val="#ppt_w*0.70"/>
                                          </p:val>
                                        </p:tav>
                                        <p:tav tm="100000">
                                          <p:val>
                                            <p:strVal val="#ppt_w"/>
                                          </p:val>
                                        </p:tav>
                                      </p:tavLst>
                                    </p:anim>
                                    <p:anim calcmode="lin" valueType="num">
                                      <p:cBhvr>
                                        <p:cTn id="43" dur="1000" fill="hold"/>
                                        <p:tgtEl>
                                          <p:spTgt spid="2"/>
                                        </p:tgtEl>
                                        <p:attrNameLst>
                                          <p:attrName>ppt_h</p:attrName>
                                        </p:attrNameLst>
                                      </p:cBhvr>
                                      <p:tavLst>
                                        <p:tav tm="0">
                                          <p:val>
                                            <p:strVal val="#ppt_h"/>
                                          </p:val>
                                        </p:tav>
                                        <p:tav tm="100000">
                                          <p:val>
                                            <p:strVal val="#ppt_h"/>
                                          </p:val>
                                        </p:tav>
                                      </p:tavLst>
                                    </p:anim>
                                    <p:animEffect transition="in" filter="fade">
                                      <p:cBhvr>
                                        <p:cTn id="44" dur="1000"/>
                                        <p:tgtEl>
                                          <p:spTgt spid="2"/>
                                        </p:tgtEl>
                                      </p:cBhvr>
                                    </p:animEffect>
                                  </p:childTnLst>
                                </p:cTn>
                              </p:par>
                            </p:childTnLst>
                          </p:cTn>
                        </p:par>
                        <p:par>
                          <p:cTn id="45" fill="hold">
                            <p:stCondLst>
                              <p:cond delay="15000"/>
                            </p:stCondLst>
                            <p:childTnLst>
                              <p:par>
                                <p:cTn id="46" presetID="55" presetClass="entr" presetSubtype="0" fill="hold" grpId="0" nodeType="afterEffect">
                                  <p:stCondLst>
                                    <p:cond delay="0"/>
                                  </p:stCondLst>
                                  <p:childTnLst>
                                    <p:set>
                                      <p:cBhvr>
                                        <p:cTn id="47" dur="1" fill="hold">
                                          <p:stCondLst>
                                            <p:cond delay="0"/>
                                          </p:stCondLst>
                                        </p:cTn>
                                        <p:tgtEl>
                                          <p:spTgt spid="22544"/>
                                        </p:tgtEl>
                                        <p:attrNameLst>
                                          <p:attrName>style.visibility</p:attrName>
                                        </p:attrNameLst>
                                      </p:cBhvr>
                                      <p:to>
                                        <p:strVal val="visible"/>
                                      </p:to>
                                    </p:set>
                                    <p:anim calcmode="lin" valueType="num">
                                      <p:cBhvr>
                                        <p:cTn id="48" dur="1000" fill="hold"/>
                                        <p:tgtEl>
                                          <p:spTgt spid="22544"/>
                                        </p:tgtEl>
                                        <p:attrNameLst>
                                          <p:attrName>ppt_w</p:attrName>
                                        </p:attrNameLst>
                                      </p:cBhvr>
                                      <p:tavLst>
                                        <p:tav tm="0">
                                          <p:val>
                                            <p:strVal val="#ppt_w*0.70"/>
                                          </p:val>
                                        </p:tav>
                                        <p:tav tm="100000">
                                          <p:val>
                                            <p:strVal val="#ppt_w"/>
                                          </p:val>
                                        </p:tav>
                                      </p:tavLst>
                                    </p:anim>
                                    <p:anim calcmode="lin" valueType="num">
                                      <p:cBhvr>
                                        <p:cTn id="49" dur="1000" fill="hold"/>
                                        <p:tgtEl>
                                          <p:spTgt spid="22544"/>
                                        </p:tgtEl>
                                        <p:attrNameLst>
                                          <p:attrName>ppt_h</p:attrName>
                                        </p:attrNameLst>
                                      </p:cBhvr>
                                      <p:tavLst>
                                        <p:tav tm="0">
                                          <p:val>
                                            <p:strVal val="#ppt_h"/>
                                          </p:val>
                                        </p:tav>
                                        <p:tav tm="100000">
                                          <p:val>
                                            <p:strVal val="#ppt_h"/>
                                          </p:val>
                                        </p:tav>
                                      </p:tavLst>
                                    </p:anim>
                                    <p:animEffect transition="in" filter="fade">
                                      <p:cBhvr>
                                        <p:cTn id="50" dur="1000"/>
                                        <p:tgtEl>
                                          <p:spTgt spid="22544"/>
                                        </p:tgtEl>
                                      </p:cBhvr>
                                    </p:animEffect>
                                  </p:childTnLst>
                                </p:cTn>
                              </p:par>
                              <p:par>
                                <p:cTn id="51" presetID="55" presetClass="entr" presetSubtype="0" fill="hold" grpId="0" nodeType="withEffect">
                                  <p:stCondLst>
                                    <p:cond delay="0"/>
                                  </p:stCondLst>
                                  <p:childTnLst>
                                    <p:set>
                                      <p:cBhvr>
                                        <p:cTn id="52" dur="1" fill="hold">
                                          <p:stCondLst>
                                            <p:cond delay="0"/>
                                          </p:stCondLst>
                                        </p:cTn>
                                        <p:tgtEl>
                                          <p:spTgt spid="22545">
                                            <p:txEl>
                                              <p:pRg st="0" end="0"/>
                                            </p:txEl>
                                          </p:spTgt>
                                        </p:tgtEl>
                                        <p:attrNameLst>
                                          <p:attrName>style.visibility</p:attrName>
                                        </p:attrNameLst>
                                      </p:cBhvr>
                                      <p:to>
                                        <p:strVal val="visible"/>
                                      </p:to>
                                    </p:set>
                                    <p:anim calcmode="lin" valueType="num">
                                      <p:cBhvr>
                                        <p:cTn id="53" dur="1000" fill="hold"/>
                                        <p:tgtEl>
                                          <p:spTgt spid="22545">
                                            <p:txEl>
                                              <p:pRg st="0" end="0"/>
                                            </p:txEl>
                                          </p:spTgt>
                                        </p:tgtEl>
                                        <p:attrNameLst>
                                          <p:attrName>ppt_w</p:attrName>
                                        </p:attrNameLst>
                                      </p:cBhvr>
                                      <p:tavLst>
                                        <p:tav tm="0">
                                          <p:val>
                                            <p:strVal val="#ppt_w*0.70"/>
                                          </p:val>
                                        </p:tav>
                                        <p:tav tm="100000">
                                          <p:val>
                                            <p:strVal val="#ppt_w"/>
                                          </p:val>
                                        </p:tav>
                                      </p:tavLst>
                                    </p:anim>
                                    <p:anim calcmode="lin" valueType="num">
                                      <p:cBhvr>
                                        <p:cTn id="54" dur="1000" fill="hold"/>
                                        <p:tgtEl>
                                          <p:spTgt spid="22545">
                                            <p:txEl>
                                              <p:pRg st="0" end="0"/>
                                            </p:txEl>
                                          </p:spTgt>
                                        </p:tgtEl>
                                        <p:attrNameLst>
                                          <p:attrName>ppt_h</p:attrName>
                                        </p:attrNameLst>
                                      </p:cBhvr>
                                      <p:tavLst>
                                        <p:tav tm="0">
                                          <p:val>
                                            <p:strVal val="#ppt_h"/>
                                          </p:val>
                                        </p:tav>
                                        <p:tav tm="100000">
                                          <p:val>
                                            <p:strVal val="#ppt_h"/>
                                          </p:val>
                                        </p:tav>
                                      </p:tavLst>
                                    </p:anim>
                                    <p:animEffect transition="in" filter="fade">
                                      <p:cBhvr>
                                        <p:cTn id="55" dur="1000"/>
                                        <p:tgtEl>
                                          <p:spTgt spid="22545">
                                            <p:txEl>
                                              <p:pRg st="0" end="0"/>
                                            </p:txEl>
                                          </p:spTgt>
                                        </p:tgtEl>
                                      </p:cBhvr>
                                    </p:animEffect>
                                  </p:childTnLst>
                                </p:cTn>
                              </p:par>
                            </p:childTnLst>
                          </p:cTn>
                        </p:par>
                        <p:par>
                          <p:cTn id="56" fill="hold">
                            <p:stCondLst>
                              <p:cond delay="16000"/>
                            </p:stCondLst>
                            <p:childTnLst>
                              <p:par>
                                <p:cTn id="57" presetID="55" presetClass="entr" presetSubtype="0" fill="hold" grpId="0" nodeType="afterEffect">
                                  <p:stCondLst>
                                    <p:cond delay="0"/>
                                  </p:stCondLst>
                                  <p:childTnLst>
                                    <p:set>
                                      <p:cBhvr>
                                        <p:cTn id="58" dur="1" fill="hold">
                                          <p:stCondLst>
                                            <p:cond delay="0"/>
                                          </p:stCondLst>
                                        </p:cTn>
                                        <p:tgtEl>
                                          <p:spTgt spid="22545">
                                            <p:txEl>
                                              <p:pRg st="1" end="1"/>
                                            </p:txEl>
                                          </p:spTgt>
                                        </p:tgtEl>
                                        <p:attrNameLst>
                                          <p:attrName>style.visibility</p:attrName>
                                        </p:attrNameLst>
                                      </p:cBhvr>
                                      <p:to>
                                        <p:strVal val="visible"/>
                                      </p:to>
                                    </p:set>
                                    <p:anim calcmode="lin" valueType="num">
                                      <p:cBhvr>
                                        <p:cTn id="59" dur="1000" fill="hold"/>
                                        <p:tgtEl>
                                          <p:spTgt spid="22545">
                                            <p:txEl>
                                              <p:pRg st="1" end="1"/>
                                            </p:txEl>
                                          </p:spTgt>
                                        </p:tgtEl>
                                        <p:attrNameLst>
                                          <p:attrName>ppt_w</p:attrName>
                                        </p:attrNameLst>
                                      </p:cBhvr>
                                      <p:tavLst>
                                        <p:tav tm="0">
                                          <p:val>
                                            <p:strVal val="#ppt_w*0.70"/>
                                          </p:val>
                                        </p:tav>
                                        <p:tav tm="100000">
                                          <p:val>
                                            <p:strVal val="#ppt_w"/>
                                          </p:val>
                                        </p:tav>
                                      </p:tavLst>
                                    </p:anim>
                                    <p:anim calcmode="lin" valueType="num">
                                      <p:cBhvr>
                                        <p:cTn id="60" dur="1000" fill="hold"/>
                                        <p:tgtEl>
                                          <p:spTgt spid="22545">
                                            <p:txEl>
                                              <p:pRg st="1" end="1"/>
                                            </p:txEl>
                                          </p:spTgt>
                                        </p:tgtEl>
                                        <p:attrNameLst>
                                          <p:attrName>ppt_h</p:attrName>
                                        </p:attrNameLst>
                                      </p:cBhvr>
                                      <p:tavLst>
                                        <p:tav tm="0">
                                          <p:val>
                                            <p:strVal val="#ppt_h"/>
                                          </p:val>
                                        </p:tav>
                                        <p:tav tm="100000">
                                          <p:val>
                                            <p:strVal val="#ppt_h"/>
                                          </p:val>
                                        </p:tav>
                                      </p:tavLst>
                                    </p:anim>
                                    <p:animEffect transition="in" filter="fade">
                                      <p:cBhvr>
                                        <p:cTn id="61" dur="1000"/>
                                        <p:tgtEl>
                                          <p:spTgt spid="22545">
                                            <p:txEl>
                                              <p:pRg st="1" end="1"/>
                                            </p:txEl>
                                          </p:spTgt>
                                        </p:tgtEl>
                                      </p:cBhvr>
                                    </p:animEffect>
                                  </p:childTnLst>
                                </p:cTn>
                              </p:par>
                            </p:childTnLst>
                          </p:cTn>
                        </p:par>
                        <p:par>
                          <p:cTn id="62" fill="hold">
                            <p:stCondLst>
                              <p:cond delay="17000"/>
                            </p:stCondLst>
                            <p:childTnLst>
                              <p:par>
                                <p:cTn id="63" presetID="55" presetClass="entr" presetSubtype="0" fill="hold" grpId="0" nodeType="afterEffect">
                                  <p:stCondLst>
                                    <p:cond delay="500"/>
                                  </p:stCondLst>
                                  <p:childTnLst>
                                    <p:set>
                                      <p:cBhvr>
                                        <p:cTn id="64" dur="1" fill="hold">
                                          <p:stCondLst>
                                            <p:cond delay="0"/>
                                          </p:stCondLst>
                                        </p:cTn>
                                        <p:tgtEl>
                                          <p:spTgt spid="22545">
                                            <p:txEl>
                                              <p:pRg st="2" end="2"/>
                                            </p:txEl>
                                          </p:spTgt>
                                        </p:tgtEl>
                                        <p:attrNameLst>
                                          <p:attrName>style.visibility</p:attrName>
                                        </p:attrNameLst>
                                      </p:cBhvr>
                                      <p:to>
                                        <p:strVal val="visible"/>
                                      </p:to>
                                    </p:set>
                                    <p:anim calcmode="lin" valueType="num">
                                      <p:cBhvr>
                                        <p:cTn id="65" dur="1000" fill="hold"/>
                                        <p:tgtEl>
                                          <p:spTgt spid="22545">
                                            <p:txEl>
                                              <p:pRg st="2" end="2"/>
                                            </p:txEl>
                                          </p:spTgt>
                                        </p:tgtEl>
                                        <p:attrNameLst>
                                          <p:attrName>ppt_w</p:attrName>
                                        </p:attrNameLst>
                                      </p:cBhvr>
                                      <p:tavLst>
                                        <p:tav tm="0">
                                          <p:val>
                                            <p:strVal val="#ppt_w*0.70"/>
                                          </p:val>
                                        </p:tav>
                                        <p:tav tm="100000">
                                          <p:val>
                                            <p:strVal val="#ppt_w"/>
                                          </p:val>
                                        </p:tav>
                                      </p:tavLst>
                                    </p:anim>
                                    <p:anim calcmode="lin" valueType="num">
                                      <p:cBhvr>
                                        <p:cTn id="66" dur="1000" fill="hold"/>
                                        <p:tgtEl>
                                          <p:spTgt spid="22545">
                                            <p:txEl>
                                              <p:pRg st="2" end="2"/>
                                            </p:txEl>
                                          </p:spTgt>
                                        </p:tgtEl>
                                        <p:attrNameLst>
                                          <p:attrName>ppt_h</p:attrName>
                                        </p:attrNameLst>
                                      </p:cBhvr>
                                      <p:tavLst>
                                        <p:tav tm="0">
                                          <p:val>
                                            <p:strVal val="#ppt_h"/>
                                          </p:val>
                                        </p:tav>
                                        <p:tav tm="100000">
                                          <p:val>
                                            <p:strVal val="#ppt_h"/>
                                          </p:val>
                                        </p:tav>
                                      </p:tavLst>
                                    </p:anim>
                                    <p:animEffect transition="in" filter="fade">
                                      <p:cBhvr>
                                        <p:cTn id="67" dur="1000"/>
                                        <p:tgtEl>
                                          <p:spTgt spid="22545">
                                            <p:txEl>
                                              <p:pRg st="2" end="2"/>
                                            </p:txEl>
                                          </p:spTgt>
                                        </p:tgtEl>
                                      </p:cBhvr>
                                    </p:animEffect>
                                  </p:childTnLst>
                                </p:cTn>
                              </p:par>
                            </p:childTnLst>
                          </p:cTn>
                        </p:par>
                        <p:par>
                          <p:cTn id="68" fill="hold">
                            <p:stCondLst>
                              <p:cond delay="18500"/>
                            </p:stCondLst>
                            <p:childTnLst>
                              <p:par>
                                <p:cTn id="69" presetID="55" presetClass="entr" presetSubtype="0" fill="hold" grpId="0" nodeType="afterEffect">
                                  <p:stCondLst>
                                    <p:cond delay="3000"/>
                                  </p:stCondLst>
                                  <p:childTnLst>
                                    <p:set>
                                      <p:cBhvr>
                                        <p:cTn id="70" dur="1" fill="hold">
                                          <p:stCondLst>
                                            <p:cond delay="0"/>
                                          </p:stCondLst>
                                        </p:cTn>
                                        <p:tgtEl>
                                          <p:spTgt spid="22545">
                                            <p:txEl>
                                              <p:pRg st="3" end="3"/>
                                            </p:txEl>
                                          </p:spTgt>
                                        </p:tgtEl>
                                        <p:attrNameLst>
                                          <p:attrName>style.visibility</p:attrName>
                                        </p:attrNameLst>
                                      </p:cBhvr>
                                      <p:to>
                                        <p:strVal val="visible"/>
                                      </p:to>
                                    </p:set>
                                    <p:anim calcmode="lin" valueType="num">
                                      <p:cBhvr>
                                        <p:cTn id="71" dur="1000" fill="hold"/>
                                        <p:tgtEl>
                                          <p:spTgt spid="22545">
                                            <p:txEl>
                                              <p:pRg st="3" end="3"/>
                                            </p:txEl>
                                          </p:spTgt>
                                        </p:tgtEl>
                                        <p:attrNameLst>
                                          <p:attrName>ppt_w</p:attrName>
                                        </p:attrNameLst>
                                      </p:cBhvr>
                                      <p:tavLst>
                                        <p:tav tm="0">
                                          <p:val>
                                            <p:strVal val="#ppt_w*0.70"/>
                                          </p:val>
                                        </p:tav>
                                        <p:tav tm="100000">
                                          <p:val>
                                            <p:strVal val="#ppt_w"/>
                                          </p:val>
                                        </p:tav>
                                      </p:tavLst>
                                    </p:anim>
                                    <p:anim calcmode="lin" valueType="num">
                                      <p:cBhvr>
                                        <p:cTn id="72" dur="1000" fill="hold"/>
                                        <p:tgtEl>
                                          <p:spTgt spid="22545">
                                            <p:txEl>
                                              <p:pRg st="3" end="3"/>
                                            </p:txEl>
                                          </p:spTgt>
                                        </p:tgtEl>
                                        <p:attrNameLst>
                                          <p:attrName>ppt_h</p:attrName>
                                        </p:attrNameLst>
                                      </p:cBhvr>
                                      <p:tavLst>
                                        <p:tav tm="0">
                                          <p:val>
                                            <p:strVal val="#ppt_h"/>
                                          </p:val>
                                        </p:tav>
                                        <p:tav tm="100000">
                                          <p:val>
                                            <p:strVal val="#ppt_h"/>
                                          </p:val>
                                        </p:tav>
                                      </p:tavLst>
                                    </p:anim>
                                    <p:animEffect transition="in" filter="fade">
                                      <p:cBhvr>
                                        <p:cTn id="73" dur="1000"/>
                                        <p:tgtEl>
                                          <p:spTgt spid="2254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544" grpId="0" animBg="1"/>
      <p:bldP spid="22545" grpId="0" build="p"/>
      <p:bldP spid="333826" grpId="0" animBg="1"/>
      <p:bldP spid="22543"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16132E31-463A-4FFC-8B82-D1ABE2DEC039}"/>
              </a:ext>
            </a:extLst>
          </p:cNvPr>
          <p:cNvGrpSpPr/>
          <p:nvPr/>
        </p:nvGrpSpPr>
        <p:grpSpPr>
          <a:xfrm>
            <a:off x="457201" y="2546351"/>
            <a:ext cx="7275512" cy="1079593"/>
            <a:chOff x="457201" y="2546351"/>
            <a:chExt cx="7275512" cy="1079593"/>
          </a:xfrm>
        </p:grpSpPr>
        <p:sp>
          <p:nvSpPr>
            <p:cNvPr id="29705" name="Rounded Rectangle 14"/>
            <p:cNvSpPr>
              <a:spLocks noChangeArrowheads="1"/>
            </p:cNvSpPr>
            <p:nvPr/>
          </p:nvSpPr>
          <p:spPr bwMode="auto">
            <a:xfrm rot="16200000" flipH="1">
              <a:off x="3555160" y="-551608"/>
              <a:ext cx="1079593" cy="7275512"/>
            </a:xfrm>
            <a:prstGeom prst="roundRect">
              <a:avLst>
                <a:gd name="adj" fmla="val 7870"/>
              </a:avLst>
            </a:prstGeom>
            <a:solidFill>
              <a:srgbClr val="FFFFFF"/>
            </a:solidFill>
            <a:ln w="6350" algn="ctr">
              <a:solidFill>
                <a:schemeClr val="bg2"/>
              </a:solidFill>
              <a:round/>
              <a:headEnd/>
              <a:tailEnd/>
            </a:ln>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a:ea typeface="ＭＳ Ｐゴシック" pitchFamily="34" charset="-128"/>
                <a:cs typeface="Arial" pitchFamily="34" charset="0"/>
              </a:endParaRPr>
            </a:p>
          </p:txBody>
        </p:sp>
        <p:sp>
          <p:nvSpPr>
            <p:cNvPr id="31" name="Tekstboks 72"/>
            <p:cNvSpPr txBox="1">
              <a:spLocks noChangeArrowheads="1"/>
            </p:cNvSpPr>
            <p:nvPr/>
          </p:nvSpPr>
          <p:spPr bwMode="auto">
            <a:xfrm>
              <a:off x="603250" y="2874962"/>
              <a:ext cx="7016750" cy="738664"/>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Arial" charset="0"/>
                </a:rPr>
                <a:t>This is one of the first questions to check your communication skills and level of confidence. Just mention in brief about the education, past career, and some professional accomplishments.</a:t>
              </a:r>
              <a:endParaRPr kumimoji="0" lang="da-DK" sz="1400" b="0" i="0" u="none" strike="noStrike" kern="1200" cap="none" spc="0" normalizeH="0" baseline="0" noProof="0" dirty="0">
                <a:ln>
                  <a:noFill/>
                </a:ln>
                <a:solidFill>
                  <a:srgbClr val="000000"/>
                </a:solidFill>
                <a:effectLst/>
                <a:uLnTx/>
                <a:uFillTx/>
                <a:latin typeface="Calibri"/>
                <a:ea typeface="+mn-ea"/>
                <a:cs typeface="Arial" charset="0"/>
              </a:endParaRPr>
            </a:p>
          </p:txBody>
        </p:sp>
      </p:grpSp>
      <p:grpSp>
        <p:nvGrpSpPr>
          <p:cNvPr id="10" name="Group 9">
            <a:extLst>
              <a:ext uri="{FF2B5EF4-FFF2-40B4-BE49-F238E27FC236}">
                <a16:creationId xmlns:a16="http://schemas.microsoft.com/office/drawing/2014/main" id="{4C9F4F17-9559-4DE9-94E2-4F455C33C88E}"/>
              </a:ext>
            </a:extLst>
          </p:cNvPr>
          <p:cNvGrpSpPr/>
          <p:nvPr/>
        </p:nvGrpSpPr>
        <p:grpSpPr>
          <a:xfrm>
            <a:off x="457200" y="3888591"/>
            <a:ext cx="7299325" cy="1101725"/>
            <a:chOff x="457200" y="3888591"/>
            <a:chExt cx="7299325" cy="1101725"/>
          </a:xfrm>
        </p:grpSpPr>
        <p:sp>
          <p:nvSpPr>
            <p:cNvPr id="20" name="Rounded Rectangle 19"/>
            <p:cNvSpPr/>
            <p:nvPr/>
          </p:nvSpPr>
          <p:spPr bwMode="auto">
            <a:xfrm rot="16200000" flipH="1">
              <a:off x="3567113" y="778678"/>
              <a:ext cx="1079500" cy="7299325"/>
            </a:xfrm>
            <a:prstGeom prst="roundRect">
              <a:avLst>
                <a:gd name="adj" fmla="val 7869"/>
              </a:avLst>
            </a:prstGeom>
            <a:solidFill>
              <a:sysClr val="window" lastClr="FFFFFF"/>
            </a:solidFill>
            <a:ln w="6350" cap="flat" cmpd="sng" algn="ctr">
              <a:solidFill>
                <a:schemeClr val="accent2">
                  <a:lumMod val="60000"/>
                  <a:lumOff val="40000"/>
                </a:schemeClr>
              </a:solidFill>
              <a:prstDash val="solid"/>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ＭＳ Ｐゴシック" charset="-128"/>
                <a:cs typeface="Arial" charset="0"/>
              </a:endParaRPr>
            </a:p>
          </p:txBody>
        </p:sp>
        <p:sp>
          <p:nvSpPr>
            <p:cNvPr id="22" name="Tekstboks 72"/>
            <p:cNvSpPr txBox="1">
              <a:spLocks noChangeArrowheads="1"/>
            </p:cNvSpPr>
            <p:nvPr/>
          </p:nvSpPr>
          <p:spPr bwMode="auto">
            <a:xfrm>
              <a:off x="603250" y="4252129"/>
              <a:ext cx="7092950" cy="738187"/>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Arial" charset="0"/>
                </a:rPr>
                <a:t>An ideal answer should be in brief about the company's history, product offerings, branches, expertise, etc. Make sure you do your homework before getting to face this question. This is surely one of the most common interview questions.</a:t>
              </a:r>
              <a:endParaRPr kumimoji="0" lang="da-DK" sz="1400" b="0" i="0" u="none" strike="noStrike" kern="1200" cap="none" spc="0" normalizeH="0" baseline="0" noProof="0" dirty="0">
                <a:ln>
                  <a:noFill/>
                </a:ln>
                <a:solidFill>
                  <a:srgbClr val="000000"/>
                </a:solidFill>
                <a:effectLst/>
                <a:uLnTx/>
                <a:uFillTx/>
                <a:latin typeface="Calibri"/>
                <a:ea typeface="+mn-ea"/>
                <a:cs typeface="Arial" charset="0"/>
              </a:endParaRPr>
            </a:p>
          </p:txBody>
        </p:sp>
      </p:grpSp>
      <p:grpSp>
        <p:nvGrpSpPr>
          <p:cNvPr id="9" name="Group 8">
            <a:extLst>
              <a:ext uri="{FF2B5EF4-FFF2-40B4-BE49-F238E27FC236}">
                <a16:creationId xmlns:a16="http://schemas.microsoft.com/office/drawing/2014/main" id="{AE499DBF-8161-470A-8B9D-899CD822601B}"/>
              </a:ext>
            </a:extLst>
          </p:cNvPr>
          <p:cNvGrpSpPr/>
          <p:nvPr/>
        </p:nvGrpSpPr>
        <p:grpSpPr>
          <a:xfrm>
            <a:off x="457200" y="3899704"/>
            <a:ext cx="7299325" cy="314325"/>
            <a:chOff x="457200" y="3899704"/>
            <a:chExt cx="7299325" cy="314325"/>
          </a:xfrm>
        </p:grpSpPr>
        <p:sp>
          <p:nvSpPr>
            <p:cNvPr id="21" name="Round Same Side Corner Rectangle 20"/>
            <p:cNvSpPr/>
            <p:nvPr/>
          </p:nvSpPr>
          <p:spPr bwMode="auto">
            <a:xfrm>
              <a:off x="457200" y="3899704"/>
              <a:ext cx="7299325" cy="314325"/>
            </a:xfrm>
            <a:prstGeom prst="round2SameRect">
              <a:avLst>
                <a:gd name="adj1" fmla="val 27778"/>
                <a:gd name="adj2" fmla="val 0"/>
              </a:avLst>
            </a:prstGeom>
            <a:solidFill>
              <a:schemeClr val="accent2">
                <a:lumMod val="40000"/>
                <a:lumOff val="60000"/>
              </a:schemeClr>
            </a:solidFill>
            <a:ln w="9525" cap="flat" cmpd="sng" algn="ctr">
              <a:solidFill>
                <a:schemeClr val="accent2">
                  <a:lumMod val="60000"/>
                  <a:lumOff val="40000"/>
                </a:schemeClr>
              </a:solidFill>
              <a:prstDash val="solid"/>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ＭＳ Ｐゴシック" charset="-128"/>
                <a:cs typeface="Arial" charset="0"/>
              </a:endParaRPr>
            </a:p>
          </p:txBody>
        </p:sp>
        <p:sp>
          <p:nvSpPr>
            <p:cNvPr id="23" name="Rektangel 76"/>
            <p:cNvSpPr>
              <a:spLocks noChangeArrowheads="1"/>
            </p:cNvSpPr>
            <p:nvPr/>
          </p:nvSpPr>
          <p:spPr bwMode="auto">
            <a:xfrm>
              <a:off x="592138" y="3899704"/>
              <a:ext cx="5656262" cy="307777"/>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Calibri"/>
                  <a:ea typeface="+mn-ea"/>
                  <a:cs typeface="Arial" charset="0"/>
                </a:rPr>
                <a:t>2. Tell me some primary things about our organization</a:t>
              </a:r>
            </a:p>
          </p:txBody>
        </p:sp>
      </p:grpSp>
      <p:sp>
        <p:nvSpPr>
          <p:cNvPr id="29699" name="TextBox 22"/>
          <p:cNvSpPr txBox="1">
            <a:spLocks noChangeArrowheads="1"/>
          </p:cNvSpPr>
          <p:nvPr/>
        </p:nvSpPr>
        <p:spPr bwMode="auto">
          <a:xfrm>
            <a:off x="685800" y="1877602"/>
            <a:ext cx="409657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a:ea typeface="+mn-ea"/>
                <a:cs typeface="Arial" pitchFamily="34" charset="0"/>
              </a:rPr>
              <a:t>Common Questions Asked</a:t>
            </a:r>
          </a:p>
        </p:txBody>
      </p:sp>
      <p:grpSp>
        <p:nvGrpSpPr>
          <p:cNvPr id="3" name="Group 1"/>
          <p:cNvGrpSpPr>
            <a:grpSpLocks/>
          </p:cNvGrpSpPr>
          <p:nvPr/>
        </p:nvGrpSpPr>
        <p:grpSpPr bwMode="auto">
          <a:xfrm>
            <a:off x="7870825" y="3008312"/>
            <a:ext cx="1044575" cy="2878138"/>
            <a:chOff x="7506686" y="2831070"/>
            <a:chExt cx="1387777" cy="3341130"/>
          </a:xfrm>
        </p:grpSpPr>
        <p:sp>
          <p:nvSpPr>
            <p:cNvPr id="29720" name="Freeform 54"/>
            <p:cNvSpPr>
              <a:spLocks/>
            </p:cNvSpPr>
            <p:nvPr/>
          </p:nvSpPr>
          <p:spPr bwMode="auto">
            <a:xfrm flipH="1">
              <a:off x="7815260" y="2831070"/>
              <a:ext cx="328958" cy="438295"/>
            </a:xfrm>
            <a:custGeom>
              <a:avLst/>
              <a:gdLst>
                <a:gd name="T0" fmla="*/ 2147483647 w 232"/>
                <a:gd name="T1" fmla="*/ 0 h 286"/>
                <a:gd name="T2" fmla="*/ 2147483647 w 232"/>
                <a:gd name="T3" fmla="*/ 2147483647 h 286"/>
                <a:gd name="T4" fmla="*/ 2147483647 w 232"/>
                <a:gd name="T5" fmla="*/ 2147483647 h 286"/>
                <a:gd name="T6" fmla="*/ 2147483647 w 232"/>
                <a:gd name="T7" fmla="*/ 2147483647 h 286"/>
                <a:gd name="T8" fmla="*/ 2147483647 w 232"/>
                <a:gd name="T9" fmla="*/ 2147483647 h 286"/>
                <a:gd name="T10" fmla="*/ 2147483647 w 232"/>
                <a:gd name="T11" fmla="*/ 2147483647 h 286"/>
                <a:gd name="T12" fmla="*/ 2147483647 w 232"/>
                <a:gd name="T13" fmla="*/ 2147483647 h 286"/>
                <a:gd name="T14" fmla="*/ 2147483647 w 232"/>
                <a:gd name="T15" fmla="*/ 2147483647 h 286"/>
                <a:gd name="T16" fmla="*/ 2147483647 w 232"/>
                <a:gd name="T17" fmla="*/ 2147483647 h 286"/>
                <a:gd name="T18" fmla="*/ 2147483647 w 232"/>
                <a:gd name="T19" fmla="*/ 2147483647 h 286"/>
                <a:gd name="T20" fmla="*/ 2147483647 w 232"/>
                <a:gd name="T21" fmla="*/ 2147483647 h 286"/>
                <a:gd name="T22" fmla="*/ 2147483647 w 232"/>
                <a:gd name="T23" fmla="*/ 2147483647 h 286"/>
                <a:gd name="T24" fmla="*/ 2147483647 w 232"/>
                <a:gd name="T25" fmla="*/ 2147483647 h 286"/>
                <a:gd name="T26" fmla="*/ 2147483647 w 232"/>
                <a:gd name="T27" fmla="*/ 2147483647 h 286"/>
                <a:gd name="T28" fmla="*/ 2147483647 w 232"/>
                <a:gd name="T29" fmla="*/ 2147483647 h 286"/>
                <a:gd name="T30" fmla="*/ 2147483647 w 232"/>
                <a:gd name="T31" fmla="*/ 2147483647 h 286"/>
                <a:gd name="T32" fmla="*/ 2147483647 w 232"/>
                <a:gd name="T33" fmla="*/ 2147483647 h 286"/>
                <a:gd name="T34" fmla="*/ 2147483647 w 232"/>
                <a:gd name="T35" fmla="*/ 2147483647 h 286"/>
                <a:gd name="T36" fmla="*/ 2147483647 w 232"/>
                <a:gd name="T37" fmla="*/ 2147483647 h 286"/>
                <a:gd name="T38" fmla="*/ 2147483647 w 232"/>
                <a:gd name="T39" fmla="*/ 2147483647 h 286"/>
                <a:gd name="T40" fmla="*/ 2147483647 w 232"/>
                <a:gd name="T41" fmla="*/ 2147483647 h 286"/>
                <a:gd name="T42" fmla="*/ 2147483647 w 232"/>
                <a:gd name="T43" fmla="*/ 2147483647 h 286"/>
                <a:gd name="T44" fmla="*/ 2147483647 w 232"/>
                <a:gd name="T45" fmla="*/ 2147483647 h 286"/>
                <a:gd name="T46" fmla="*/ 2147483647 w 232"/>
                <a:gd name="T47" fmla="*/ 2147483647 h 286"/>
                <a:gd name="T48" fmla="*/ 2147483647 w 232"/>
                <a:gd name="T49" fmla="*/ 2147483647 h 286"/>
                <a:gd name="T50" fmla="*/ 2147483647 w 232"/>
                <a:gd name="T51" fmla="*/ 2147483647 h 286"/>
                <a:gd name="T52" fmla="*/ 2147483647 w 232"/>
                <a:gd name="T53" fmla="*/ 2147483647 h 286"/>
                <a:gd name="T54" fmla="*/ 2147483647 w 232"/>
                <a:gd name="T55" fmla="*/ 2147483647 h 286"/>
                <a:gd name="T56" fmla="*/ 2147483647 w 232"/>
                <a:gd name="T57" fmla="*/ 2147483647 h 286"/>
                <a:gd name="T58" fmla="*/ 2147483647 w 232"/>
                <a:gd name="T59" fmla="*/ 2147483647 h 286"/>
                <a:gd name="T60" fmla="*/ 2147483647 w 232"/>
                <a:gd name="T61" fmla="*/ 2147483647 h 286"/>
                <a:gd name="T62" fmla="*/ 2147483647 w 232"/>
                <a:gd name="T63" fmla="*/ 2147483647 h 286"/>
                <a:gd name="T64" fmla="*/ 2147483647 w 232"/>
                <a:gd name="T65" fmla="*/ 2147483647 h 286"/>
                <a:gd name="T66" fmla="*/ 2147483647 w 232"/>
                <a:gd name="T67" fmla="*/ 2147483647 h 286"/>
                <a:gd name="T68" fmla="*/ 0 w 232"/>
                <a:gd name="T69" fmla="*/ 2147483647 h 28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2"/>
                <a:gd name="T106" fmla="*/ 0 h 286"/>
                <a:gd name="T107" fmla="*/ 232 w 232"/>
                <a:gd name="T108" fmla="*/ 286 h 28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2" h="286">
                  <a:moveTo>
                    <a:pt x="32" y="0"/>
                  </a:moveTo>
                  <a:lnTo>
                    <a:pt x="32" y="0"/>
                  </a:lnTo>
                  <a:lnTo>
                    <a:pt x="90" y="50"/>
                  </a:lnTo>
                  <a:lnTo>
                    <a:pt x="134" y="86"/>
                  </a:lnTo>
                  <a:lnTo>
                    <a:pt x="154" y="100"/>
                  </a:lnTo>
                  <a:lnTo>
                    <a:pt x="166" y="108"/>
                  </a:lnTo>
                  <a:lnTo>
                    <a:pt x="190" y="86"/>
                  </a:lnTo>
                  <a:lnTo>
                    <a:pt x="206" y="68"/>
                  </a:lnTo>
                  <a:lnTo>
                    <a:pt x="216" y="58"/>
                  </a:lnTo>
                  <a:lnTo>
                    <a:pt x="218" y="58"/>
                  </a:lnTo>
                  <a:lnTo>
                    <a:pt x="220" y="60"/>
                  </a:lnTo>
                  <a:lnTo>
                    <a:pt x="222" y="66"/>
                  </a:lnTo>
                  <a:lnTo>
                    <a:pt x="222" y="82"/>
                  </a:lnTo>
                  <a:lnTo>
                    <a:pt x="220" y="108"/>
                  </a:lnTo>
                  <a:lnTo>
                    <a:pt x="218" y="138"/>
                  </a:lnTo>
                  <a:lnTo>
                    <a:pt x="208" y="136"/>
                  </a:lnTo>
                  <a:lnTo>
                    <a:pt x="214" y="172"/>
                  </a:lnTo>
                  <a:lnTo>
                    <a:pt x="222" y="194"/>
                  </a:lnTo>
                  <a:lnTo>
                    <a:pt x="226" y="218"/>
                  </a:lnTo>
                  <a:lnTo>
                    <a:pt x="230" y="248"/>
                  </a:lnTo>
                  <a:lnTo>
                    <a:pt x="232" y="286"/>
                  </a:lnTo>
                  <a:lnTo>
                    <a:pt x="222" y="230"/>
                  </a:lnTo>
                  <a:lnTo>
                    <a:pt x="212" y="188"/>
                  </a:lnTo>
                  <a:lnTo>
                    <a:pt x="206" y="170"/>
                  </a:lnTo>
                  <a:lnTo>
                    <a:pt x="198" y="160"/>
                  </a:lnTo>
                  <a:lnTo>
                    <a:pt x="198" y="126"/>
                  </a:lnTo>
                  <a:lnTo>
                    <a:pt x="188" y="120"/>
                  </a:lnTo>
                  <a:lnTo>
                    <a:pt x="178" y="114"/>
                  </a:lnTo>
                  <a:lnTo>
                    <a:pt x="168" y="112"/>
                  </a:lnTo>
                  <a:lnTo>
                    <a:pt x="164" y="112"/>
                  </a:lnTo>
                  <a:lnTo>
                    <a:pt x="160" y="114"/>
                  </a:lnTo>
                  <a:lnTo>
                    <a:pt x="148" y="122"/>
                  </a:lnTo>
                  <a:lnTo>
                    <a:pt x="138" y="132"/>
                  </a:lnTo>
                  <a:lnTo>
                    <a:pt x="126" y="142"/>
                  </a:lnTo>
                  <a:lnTo>
                    <a:pt x="112" y="154"/>
                  </a:lnTo>
                  <a:lnTo>
                    <a:pt x="122" y="148"/>
                  </a:lnTo>
                  <a:lnTo>
                    <a:pt x="138" y="140"/>
                  </a:lnTo>
                  <a:lnTo>
                    <a:pt x="144" y="138"/>
                  </a:lnTo>
                  <a:lnTo>
                    <a:pt x="146" y="136"/>
                  </a:lnTo>
                  <a:lnTo>
                    <a:pt x="170" y="158"/>
                  </a:lnTo>
                  <a:lnTo>
                    <a:pt x="168" y="162"/>
                  </a:lnTo>
                  <a:lnTo>
                    <a:pt x="164" y="170"/>
                  </a:lnTo>
                  <a:lnTo>
                    <a:pt x="162" y="182"/>
                  </a:lnTo>
                  <a:lnTo>
                    <a:pt x="158" y="196"/>
                  </a:lnTo>
                  <a:lnTo>
                    <a:pt x="158" y="218"/>
                  </a:lnTo>
                  <a:lnTo>
                    <a:pt x="158" y="244"/>
                  </a:lnTo>
                  <a:lnTo>
                    <a:pt x="162" y="276"/>
                  </a:lnTo>
                  <a:lnTo>
                    <a:pt x="134" y="216"/>
                  </a:lnTo>
                  <a:lnTo>
                    <a:pt x="112" y="172"/>
                  </a:lnTo>
                  <a:lnTo>
                    <a:pt x="102" y="156"/>
                  </a:lnTo>
                  <a:lnTo>
                    <a:pt x="96" y="146"/>
                  </a:lnTo>
                  <a:lnTo>
                    <a:pt x="52" y="98"/>
                  </a:lnTo>
                  <a:lnTo>
                    <a:pt x="28" y="72"/>
                  </a:lnTo>
                  <a:lnTo>
                    <a:pt x="16" y="56"/>
                  </a:lnTo>
                  <a:lnTo>
                    <a:pt x="12" y="50"/>
                  </a:lnTo>
                  <a:lnTo>
                    <a:pt x="8" y="40"/>
                  </a:lnTo>
                  <a:lnTo>
                    <a:pt x="0" y="30"/>
                  </a:ln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73" name="Ellipse 172"/>
            <p:cNvSpPr/>
            <p:nvPr/>
          </p:nvSpPr>
          <p:spPr bwMode="auto">
            <a:xfrm flipH="1">
              <a:off x="7506686" y="5922884"/>
              <a:ext cx="1387777" cy="249316"/>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itchFamily="34" charset="0"/>
                <a:ea typeface="ＭＳ Ｐゴシック" charset="-128"/>
                <a:cs typeface="Arial" charset="0"/>
              </a:endParaRPr>
            </a:p>
          </p:txBody>
        </p:sp>
      </p:grpSp>
      <p:grpSp>
        <p:nvGrpSpPr>
          <p:cNvPr id="4" name="Group 1"/>
          <p:cNvGrpSpPr>
            <a:grpSpLocks/>
          </p:cNvGrpSpPr>
          <p:nvPr/>
        </p:nvGrpSpPr>
        <p:grpSpPr bwMode="auto">
          <a:xfrm>
            <a:off x="7542213" y="2535237"/>
            <a:ext cx="1373187" cy="3810000"/>
            <a:chOff x="7313313" y="1608138"/>
            <a:chExt cx="1581150" cy="4564062"/>
          </a:xfrm>
        </p:grpSpPr>
        <p:grpSp>
          <p:nvGrpSpPr>
            <p:cNvPr id="29713" name="Gruppe 49"/>
            <p:cNvGrpSpPr>
              <a:grpSpLocks/>
            </p:cNvGrpSpPr>
            <p:nvPr/>
          </p:nvGrpSpPr>
          <p:grpSpPr bwMode="auto">
            <a:xfrm flipH="1">
              <a:off x="7313313" y="1608138"/>
              <a:ext cx="1247775" cy="4511675"/>
              <a:chOff x="1624012" y="-2755900"/>
              <a:chExt cx="1397000" cy="4673600"/>
            </a:xfrm>
          </p:grpSpPr>
          <p:sp>
            <p:nvSpPr>
              <p:cNvPr id="80" name="Freeform 34"/>
              <p:cNvSpPr>
                <a:spLocks noEditPoints="1"/>
              </p:cNvSpPr>
              <p:nvPr/>
            </p:nvSpPr>
            <p:spPr bwMode="auto">
              <a:xfrm>
                <a:off x="1623236" y="-2755900"/>
                <a:ext cx="1397776" cy="4672709"/>
              </a:xfrm>
              <a:custGeom>
                <a:avLst/>
                <a:gdLst>
                  <a:gd name="T0" fmla="*/ 2147483647 w 880"/>
                  <a:gd name="T1" fmla="*/ 2147483647 h 2944"/>
                  <a:gd name="T2" fmla="*/ 2147483647 w 880"/>
                  <a:gd name="T3" fmla="*/ 2147483647 h 2944"/>
                  <a:gd name="T4" fmla="*/ 2147483647 w 880"/>
                  <a:gd name="T5" fmla="*/ 2147483647 h 2944"/>
                  <a:gd name="T6" fmla="*/ 2147483647 w 880"/>
                  <a:gd name="T7" fmla="*/ 2147483647 h 2944"/>
                  <a:gd name="T8" fmla="*/ 2147483647 w 880"/>
                  <a:gd name="T9" fmla="*/ 2147483647 h 2944"/>
                  <a:gd name="T10" fmla="*/ 2147483647 w 880"/>
                  <a:gd name="T11" fmla="*/ 2147483647 h 2944"/>
                  <a:gd name="T12" fmla="*/ 2147483647 w 880"/>
                  <a:gd name="T13" fmla="*/ 2147483647 h 2944"/>
                  <a:gd name="T14" fmla="*/ 2147483647 w 880"/>
                  <a:gd name="T15" fmla="*/ 2147483647 h 2944"/>
                  <a:gd name="T16" fmla="*/ 2147483647 w 880"/>
                  <a:gd name="T17" fmla="*/ 2147483647 h 2944"/>
                  <a:gd name="T18" fmla="*/ 2147483647 w 880"/>
                  <a:gd name="T19" fmla="*/ 2147483647 h 2944"/>
                  <a:gd name="T20" fmla="*/ 2147483647 w 880"/>
                  <a:gd name="T21" fmla="*/ 2147483647 h 2944"/>
                  <a:gd name="T22" fmla="*/ 2147483647 w 880"/>
                  <a:gd name="T23" fmla="*/ 2147483647 h 2944"/>
                  <a:gd name="T24" fmla="*/ 2147483647 w 880"/>
                  <a:gd name="T25" fmla="*/ 2147483647 h 2944"/>
                  <a:gd name="T26" fmla="*/ 2147483647 w 880"/>
                  <a:gd name="T27" fmla="*/ 2147483647 h 2944"/>
                  <a:gd name="T28" fmla="*/ 2147483647 w 880"/>
                  <a:gd name="T29" fmla="*/ 2147483647 h 2944"/>
                  <a:gd name="T30" fmla="*/ 2147483647 w 880"/>
                  <a:gd name="T31" fmla="*/ 2147483647 h 2944"/>
                  <a:gd name="T32" fmla="*/ 2147483647 w 880"/>
                  <a:gd name="T33" fmla="*/ 2147483647 h 2944"/>
                  <a:gd name="T34" fmla="*/ 2147483647 w 880"/>
                  <a:gd name="T35" fmla="*/ 2147483647 h 2944"/>
                  <a:gd name="T36" fmla="*/ 2147483647 w 880"/>
                  <a:gd name="T37" fmla="*/ 2147483647 h 2944"/>
                  <a:gd name="T38" fmla="*/ 2147483647 w 880"/>
                  <a:gd name="T39" fmla="*/ 2147483647 h 2944"/>
                  <a:gd name="T40" fmla="*/ 2147483647 w 880"/>
                  <a:gd name="T41" fmla="*/ 2147483647 h 2944"/>
                  <a:gd name="T42" fmla="*/ 2147483647 w 880"/>
                  <a:gd name="T43" fmla="*/ 2147483647 h 2944"/>
                  <a:gd name="T44" fmla="*/ 2147483647 w 880"/>
                  <a:gd name="T45" fmla="*/ 2147483647 h 2944"/>
                  <a:gd name="T46" fmla="*/ 2147483647 w 880"/>
                  <a:gd name="T47" fmla="*/ 2147483647 h 2944"/>
                  <a:gd name="T48" fmla="*/ 2147483647 w 880"/>
                  <a:gd name="T49" fmla="*/ 2147483647 h 2944"/>
                  <a:gd name="T50" fmla="*/ 2147483647 w 880"/>
                  <a:gd name="T51" fmla="*/ 2147483647 h 2944"/>
                  <a:gd name="T52" fmla="*/ 2147483647 w 880"/>
                  <a:gd name="T53" fmla="*/ 2147483647 h 2944"/>
                  <a:gd name="T54" fmla="*/ 2147483647 w 880"/>
                  <a:gd name="T55" fmla="*/ 2147483647 h 2944"/>
                  <a:gd name="T56" fmla="*/ 2147483647 w 880"/>
                  <a:gd name="T57" fmla="*/ 2147483647 h 2944"/>
                  <a:gd name="T58" fmla="*/ 2147483647 w 880"/>
                  <a:gd name="T59" fmla="*/ 2147483647 h 2944"/>
                  <a:gd name="T60" fmla="*/ 2147483647 w 880"/>
                  <a:gd name="T61" fmla="*/ 2147483647 h 2944"/>
                  <a:gd name="T62" fmla="*/ 2147483647 w 880"/>
                  <a:gd name="T63" fmla="*/ 2147483647 h 2944"/>
                  <a:gd name="T64" fmla="*/ 2147483647 w 880"/>
                  <a:gd name="T65" fmla="*/ 2147483647 h 2944"/>
                  <a:gd name="T66" fmla="*/ 2147483647 w 880"/>
                  <a:gd name="T67" fmla="*/ 2147483647 h 2944"/>
                  <a:gd name="T68" fmla="*/ 2147483647 w 880"/>
                  <a:gd name="T69" fmla="*/ 2147483647 h 2944"/>
                  <a:gd name="T70" fmla="*/ 2147483647 w 880"/>
                  <a:gd name="T71" fmla="*/ 2147483647 h 2944"/>
                  <a:gd name="T72" fmla="*/ 2147483647 w 880"/>
                  <a:gd name="T73" fmla="*/ 2147483647 h 2944"/>
                  <a:gd name="T74" fmla="*/ 2147483647 w 880"/>
                  <a:gd name="T75" fmla="*/ 2147483647 h 2944"/>
                  <a:gd name="T76" fmla="*/ 2147483647 w 880"/>
                  <a:gd name="T77" fmla="*/ 2147483647 h 2944"/>
                  <a:gd name="T78" fmla="*/ 2147483647 w 880"/>
                  <a:gd name="T79" fmla="*/ 2147483647 h 2944"/>
                  <a:gd name="T80" fmla="*/ 2147483647 w 880"/>
                  <a:gd name="T81" fmla="*/ 2147483647 h 2944"/>
                  <a:gd name="T82" fmla="*/ 2147483647 w 880"/>
                  <a:gd name="T83" fmla="*/ 2147483647 h 2944"/>
                  <a:gd name="T84" fmla="*/ 2147483647 w 880"/>
                  <a:gd name="T85" fmla="*/ 2147483647 h 2944"/>
                  <a:gd name="T86" fmla="*/ 2147483647 w 880"/>
                  <a:gd name="T87" fmla="*/ 2147483647 h 2944"/>
                  <a:gd name="T88" fmla="*/ 2147483647 w 880"/>
                  <a:gd name="T89" fmla="*/ 2147483647 h 2944"/>
                  <a:gd name="T90" fmla="*/ 2147483647 w 880"/>
                  <a:gd name="T91" fmla="*/ 2147483647 h 2944"/>
                  <a:gd name="T92" fmla="*/ 2147483647 w 880"/>
                  <a:gd name="T93" fmla="*/ 2147483647 h 2944"/>
                  <a:gd name="T94" fmla="*/ 2147483647 w 880"/>
                  <a:gd name="T95" fmla="*/ 2147483647 h 2944"/>
                  <a:gd name="T96" fmla="*/ 2147483647 w 880"/>
                  <a:gd name="T97" fmla="*/ 2147483647 h 2944"/>
                  <a:gd name="T98" fmla="*/ 2147483647 w 880"/>
                  <a:gd name="T99" fmla="*/ 2147483647 h 2944"/>
                  <a:gd name="T100" fmla="*/ 2147483647 w 880"/>
                  <a:gd name="T101" fmla="*/ 2147483647 h 2944"/>
                  <a:gd name="T102" fmla="*/ 2147483647 w 880"/>
                  <a:gd name="T103" fmla="*/ 2147483647 h 2944"/>
                  <a:gd name="T104" fmla="*/ 2147483647 w 880"/>
                  <a:gd name="T105" fmla="*/ 2147483647 h 2944"/>
                  <a:gd name="T106" fmla="*/ 2147483647 w 880"/>
                  <a:gd name="T107" fmla="*/ 2147483647 h 2944"/>
                  <a:gd name="T108" fmla="*/ 2147483647 w 880"/>
                  <a:gd name="T109" fmla="*/ 2147483647 h 2944"/>
                  <a:gd name="T110" fmla="*/ 2147483647 w 880"/>
                  <a:gd name="T111" fmla="*/ 2147483647 h 2944"/>
                  <a:gd name="T112" fmla="*/ 2147483647 w 880"/>
                  <a:gd name="T113" fmla="*/ 2147483647 h 2944"/>
                  <a:gd name="T114" fmla="*/ 2147483647 w 880"/>
                  <a:gd name="T115" fmla="*/ 2147483647 h 2944"/>
                  <a:gd name="T116" fmla="*/ 2147483647 w 880"/>
                  <a:gd name="T117" fmla="*/ 2147483647 h 2944"/>
                  <a:gd name="T118" fmla="*/ 2147483647 w 880"/>
                  <a:gd name="T119" fmla="*/ 2147483647 h 29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0"/>
                  <a:gd name="T181" fmla="*/ 0 h 2944"/>
                  <a:gd name="T182" fmla="*/ 880 w 880"/>
                  <a:gd name="T183" fmla="*/ 2944 h 29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0" h="2944">
                    <a:moveTo>
                      <a:pt x="878" y="1370"/>
                    </a:moveTo>
                    <a:lnTo>
                      <a:pt x="878" y="1370"/>
                    </a:lnTo>
                    <a:lnTo>
                      <a:pt x="848" y="1274"/>
                    </a:lnTo>
                    <a:lnTo>
                      <a:pt x="824" y="1204"/>
                    </a:lnTo>
                    <a:lnTo>
                      <a:pt x="808" y="1162"/>
                    </a:lnTo>
                    <a:lnTo>
                      <a:pt x="804" y="1154"/>
                    </a:lnTo>
                    <a:lnTo>
                      <a:pt x="796" y="1144"/>
                    </a:lnTo>
                    <a:lnTo>
                      <a:pt x="782" y="1126"/>
                    </a:lnTo>
                    <a:lnTo>
                      <a:pt x="762" y="1110"/>
                    </a:lnTo>
                    <a:lnTo>
                      <a:pt x="756" y="1092"/>
                    </a:lnTo>
                    <a:lnTo>
                      <a:pt x="748" y="1078"/>
                    </a:lnTo>
                    <a:lnTo>
                      <a:pt x="738" y="1066"/>
                    </a:lnTo>
                    <a:lnTo>
                      <a:pt x="724" y="1046"/>
                    </a:lnTo>
                    <a:lnTo>
                      <a:pt x="710" y="1022"/>
                    </a:lnTo>
                    <a:lnTo>
                      <a:pt x="694" y="990"/>
                    </a:lnTo>
                    <a:lnTo>
                      <a:pt x="684" y="974"/>
                    </a:lnTo>
                    <a:lnTo>
                      <a:pt x="674" y="958"/>
                    </a:lnTo>
                    <a:lnTo>
                      <a:pt x="652" y="932"/>
                    </a:lnTo>
                    <a:lnTo>
                      <a:pt x="636" y="912"/>
                    </a:lnTo>
                    <a:lnTo>
                      <a:pt x="626" y="900"/>
                    </a:lnTo>
                    <a:lnTo>
                      <a:pt x="596" y="842"/>
                    </a:lnTo>
                    <a:lnTo>
                      <a:pt x="598" y="838"/>
                    </a:lnTo>
                    <a:lnTo>
                      <a:pt x="604" y="822"/>
                    </a:lnTo>
                    <a:lnTo>
                      <a:pt x="614" y="802"/>
                    </a:lnTo>
                    <a:lnTo>
                      <a:pt x="630" y="772"/>
                    </a:lnTo>
                    <a:lnTo>
                      <a:pt x="646" y="740"/>
                    </a:lnTo>
                    <a:lnTo>
                      <a:pt x="658" y="718"/>
                    </a:lnTo>
                    <a:lnTo>
                      <a:pt x="664" y="700"/>
                    </a:lnTo>
                    <a:lnTo>
                      <a:pt x="670" y="678"/>
                    </a:lnTo>
                    <a:lnTo>
                      <a:pt x="678" y="632"/>
                    </a:lnTo>
                    <a:lnTo>
                      <a:pt x="684" y="596"/>
                    </a:lnTo>
                    <a:lnTo>
                      <a:pt x="688" y="568"/>
                    </a:lnTo>
                    <a:lnTo>
                      <a:pt x="700" y="522"/>
                    </a:lnTo>
                    <a:lnTo>
                      <a:pt x="714" y="476"/>
                    </a:lnTo>
                    <a:lnTo>
                      <a:pt x="728" y="434"/>
                    </a:lnTo>
                    <a:lnTo>
                      <a:pt x="738" y="400"/>
                    </a:lnTo>
                    <a:lnTo>
                      <a:pt x="738" y="392"/>
                    </a:lnTo>
                    <a:lnTo>
                      <a:pt x="738" y="390"/>
                    </a:lnTo>
                    <a:lnTo>
                      <a:pt x="740" y="382"/>
                    </a:lnTo>
                    <a:lnTo>
                      <a:pt x="746" y="364"/>
                    </a:lnTo>
                    <a:lnTo>
                      <a:pt x="756" y="338"/>
                    </a:lnTo>
                    <a:lnTo>
                      <a:pt x="764" y="314"/>
                    </a:lnTo>
                    <a:lnTo>
                      <a:pt x="760" y="308"/>
                    </a:lnTo>
                    <a:lnTo>
                      <a:pt x="754" y="302"/>
                    </a:lnTo>
                    <a:lnTo>
                      <a:pt x="742" y="294"/>
                    </a:lnTo>
                    <a:lnTo>
                      <a:pt x="750" y="232"/>
                    </a:lnTo>
                    <a:lnTo>
                      <a:pt x="754" y="230"/>
                    </a:lnTo>
                    <a:lnTo>
                      <a:pt x="762" y="224"/>
                    </a:lnTo>
                    <a:lnTo>
                      <a:pt x="768" y="218"/>
                    </a:lnTo>
                    <a:lnTo>
                      <a:pt x="772" y="208"/>
                    </a:lnTo>
                    <a:lnTo>
                      <a:pt x="778" y="186"/>
                    </a:lnTo>
                    <a:lnTo>
                      <a:pt x="782" y="168"/>
                    </a:lnTo>
                    <a:lnTo>
                      <a:pt x="786" y="154"/>
                    </a:lnTo>
                    <a:lnTo>
                      <a:pt x="790" y="138"/>
                    </a:lnTo>
                    <a:lnTo>
                      <a:pt x="790" y="128"/>
                    </a:lnTo>
                    <a:lnTo>
                      <a:pt x="796" y="122"/>
                    </a:lnTo>
                    <a:lnTo>
                      <a:pt x="804" y="114"/>
                    </a:lnTo>
                    <a:lnTo>
                      <a:pt x="810" y="104"/>
                    </a:lnTo>
                    <a:lnTo>
                      <a:pt x="814" y="100"/>
                    </a:lnTo>
                    <a:lnTo>
                      <a:pt x="820" y="94"/>
                    </a:lnTo>
                    <a:lnTo>
                      <a:pt x="824" y="86"/>
                    </a:lnTo>
                    <a:lnTo>
                      <a:pt x="830" y="80"/>
                    </a:lnTo>
                    <a:lnTo>
                      <a:pt x="834" y="74"/>
                    </a:lnTo>
                    <a:lnTo>
                      <a:pt x="836" y="70"/>
                    </a:lnTo>
                    <a:lnTo>
                      <a:pt x="836" y="64"/>
                    </a:lnTo>
                    <a:lnTo>
                      <a:pt x="834" y="64"/>
                    </a:lnTo>
                    <a:lnTo>
                      <a:pt x="832" y="64"/>
                    </a:lnTo>
                    <a:lnTo>
                      <a:pt x="826" y="66"/>
                    </a:lnTo>
                    <a:lnTo>
                      <a:pt x="820" y="70"/>
                    </a:lnTo>
                    <a:lnTo>
                      <a:pt x="812" y="74"/>
                    </a:lnTo>
                    <a:lnTo>
                      <a:pt x="806" y="78"/>
                    </a:lnTo>
                    <a:lnTo>
                      <a:pt x="800" y="82"/>
                    </a:lnTo>
                    <a:lnTo>
                      <a:pt x="782" y="100"/>
                    </a:lnTo>
                    <a:lnTo>
                      <a:pt x="770" y="110"/>
                    </a:lnTo>
                    <a:lnTo>
                      <a:pt x="768" y="108"/>
                    </a:lnTo>
                    <a:lnTo>
                      <a:pt x="780" y="86"/>
                    </a:lnTo>
                    <a:lnTo>
                      <a:pt x="788" y="76"/>
                    </a:lnTo>
                    <a:lnTo>
                      <a:pt x="794" y="66"/>
                    </a:lnTo>
                    <a:lnTo>
                      <a:pt x="798" y="62"/>
                    </a:lnTo>
                    <a:lnTo>
                      <a:pt x="802" y="56"/>
                    </a:lnTo>
                    <a:lnTo>
                      <a:pt x="806" y="50"/>
                    </a:lnTo>
                    <a:lnTo>
                      <a:pt x="812" y="46"/>
                    </a:lnTo>
                    <a:lnTo>
                      <a:pt x="816" y="40"/>
                    </a:lnTo>
                    <a:lnTo>
                      <a:pt x="818" y="32"/>
                    </a:lnTo>
                    <a:lnTo>
                      <a:pt x="818" y="30"/>
                    </a:lnTo>
                    <a:lnTo>
                      <a:pt x="816" y="28"/>
                    </a:lnTo>
                    <a:lnTo>
                      <a:pt x="812" y="26"/>
                    </a:lnTo>
                    <a:lnTo>
                      <a:pt x="808" y="26"/>
                    </a:lnTo>
                    <a:lnTo>
                      <a:pt x="800" y="30"/>
                    </a:lnTo>
                    <a:lnTo>
                      <a:pt x="780" y="50"/>
                    </a:lnTo>
                    <a:lnTo>
                      <a:pt x="758" y="76"/>
                    </a:lnTo>
                    <a:lnTo>
                      <a:pt x="758" y="62"/>
                    </a:lnTo>
                    <a:lnTo>
                      <a:pt x="762" y="56"/>
                    </a:lnTo>
                    <a:lnTo>
                      <a:pt x="768" y="48"/>
                    </a:lnTo>
                    <a:lnTo>
                      <a:pt x="772" y="38"/>
                    </a:lnTo>
                    <a:lnTo>
                      <a:pt x="776" y="34"/>
                    </a:lnTo>
                    <a:lnTo>
                      <a:pt x="780" y="30"/>
                    </a:lnTo>
                    <a:lnTo>
                      <a:pt x="786" y="24"/>
                    </a:lnTo>
                    <a:lnTo>
                      <a:pt x="790" y="16"/>
                    </a:lnTo>
                    <a:lnTo>
                      <a:pt x="792" y="10"/>
                    </a:lnTo>
                    <a:lnTo>
                      <a:pt x="790" y="6"/>
                    </a:lnTo>
                    <a:lnTo>
                      <a:pt x="788" y="4"/>
                    </a:lnTo>
                    <a:lnTo>
                      <a:pt x="784" y="4"/>
                    </a:lnTo>
                    <a:lnTo>
                      <a:pt x="780" y="4"/>
                    </a:lnTo>
                    <a:lnTo>
                      <a:pt x="770" y="10"/>
                    </a:lnTo>
                    <a:lnTo>
                      <a:pt x="756" y="22"/>
                    </a:lnTo>
                    <a:lnTo>
                      <a:pt x="760" y="16"/>
                    </a:lnTo>
                    <a:lnTo>
                      <a:pt x="760" y="8"/>
                    </a:lnTo>
                    <a:lnTo>
                      <a:pt x="760" y="4"/>
                    </a:lnTo>
                    <a:lnTo>
                      <a:pt x="756" y="0"/>
                    </a:lnTo>
                    <a:lnTo>
                      <a:pt x="752" y="0"/>
                    </a:lnTo>
                    <a:lnTo>
                      <a:pt x="748" y="2"/>
                    </a:lnTo>
                    <a:lnTo>
                      <a:pt x="746" y="4"/>
                    </a:lnTo>
                    <a:lnTo>
                      <a:pt x="734" y="16"/>
                    </a:lnTo>
                    <a:lnTo>
                      <a:pt x="728" y="28"/>
                    </a:lnTo>
                    <a:lnTo>
                      <a:pt x="714" y="54"/>
                    </a:lnTo>
                    <a:lnTo>
                      <a:pt x="710" y="54"/>
                    </a:lnTo>
                    <a:lnTo>
                      <a:pt x="704" y="60"/>
                    </a:lnTo>
                    <a:lnTo>
                      <a:pt x="700" y="68"/>
                    </a:lnTo>
                    <a:lnTo>
                      <a:pt x="686" y="118"/>
                    </a:lnTo>
                    <a:lnTo>
                      <a:pt x="686" y="126"/>
                    </a:lnTo>
                    <a:lnTo>
                      <a:pt x="686" y="134"/>
                    </a:lnTo>
                    <a:lnTo>
                      <a:pt x="688" y="146"/>
                    </a:lnTo>
                    <a:lnTo>
                      <a:pt x="690" y="168"/>
                    </a:lnTo>
                    <a:lnTo>
                      <a:pt x="692" y="188"/>
                    </a:lnTo>
                    <a:lnTo>
                      <a:pt x="692" y="202"/>
                    </a:lnTo>
                    <a:lnTo>
                      <a:pt x="692" y="212"/>
                    </a:lnTo>
                    <a:lnTo>
                      <a:pt x="682" y="242"/>
                    </a:lnTo>
                    <a:lnTo>
                      <a:pt x="674" y="260"/>
                    </a:lnTo>
                    <a:lnTo>
                      <a:pt x="670" y="260"/>
                    </a:lnTo>
                    <a:lnTo>
                      <a:pt x="666" y="260"/>
                    </a:lnTo>
                    <a:lnTo>
                      <a:pt x="660" y="272"/>
                    </a:lnTo>
                    <a:lnTo>
                      <a:pt x="652" y="294"/>
                    </a:lnTo>
                    <a:lnTo>
                      <a:pt x="638" y="326"/>
                    </a:lnTo>
                    <a:lnTo>
                      <a:pt x="636" y="326"/>
                    </a:lnTo>
                    <a:lnTo>
                      <a:pt x="630" y="332"/>
                    </a:lnTo>
                    <a:lnTo>
                      <a:pt x="628" y="336"/>
                    </a:lnTo>
                    <a:lnTo>
                      <a:pt x="626" y="342"/>
                    </a:lnTo>
                    <a:lnTo>
                      <a:pt x="620" y="360"/>
                    </a:lnTo>
                    <a:lnTo>
                      <a:pt x="580" y="472"/>
                    </a:lnTo>
                    <a:lnTo>
                      <a:pt x="560" y="538"/>
                    </a:lnTo>
                    <a:lnTo>
                      <a:pt x="544" y="594"/>
                    </a:lnTo>
                    <a:lnTo>
                      <a:pt x="542" y="600"/>
                    </a:lnTo>
                    <a:lnTo>
                      <a:pt x="538" y="606"/>
                    </a:lnTo>
                    <a:lnTo>
                      <a:pt x="526" y="626"/>
                    </a:lnTo>
                    <a:lnTo>
                      <a:pt x="520" y="640"/>
                    </a:lnTo>
                    <a:lnTo>
                      <a:pt x="518" y="650"/>
                    </a:lnTo>
                    <a:lnTo>
                      <a:pt x="514" y="662"/>
                    </a:lnTo>
                    <a:lnTo>
                      <a:pt x="512" y="658"/>
                    </a:lnTo>
                    <a:lnTo>
                      <a:pt x="508" y="654"/>
                    </a:lnTo>
                    <a:lnTo>
                      <a:pt x="504" y="652"/>
                    </a:lnTo>
                    <a:lnTo>
                      <a:pt x="500" y="640"/>
                    </a:lnTo>
                    <a:lnTo>
                      <a:pt x="504" y="636"/>
                    </a:lnTo>
                    <a:lnTo>
                      <a:pt x="506" y="630"/>
                    </a:lnTo>
                    <a:lnTo>
                      <a:pt x="508" y="622"/>
                    </a:lnTo>
                    <a:lnTo>
                      <a:pt x="506" y="620"/>
                    </a:lnTo>
                    <a:lnTo>
                      <a:pt x="500" y="616"/>
                    </a:lnTo>
                    <a:lnTo>
                      <a:pt x="482" y="608"/>
                    </a:lnTo>
                    <a:lnTo>
                      <a:pt x="454" y="598"/>
                    </a:lnTo>
                    <a:lnTo>
                      <a:pt x="450" y="582"/>
                    </a:lnTo>
                    <a:lnTo>
                      <a:pt x="448" y="578"/>
                    </a:lnTo>
                    <a:lnTo>
                      <a:pt x="446" y="574"/>
                    </a:lnTo>
                    <a:lnTo>
                      <a:pt x="440" y="568"/>
                    </a:lnTo>
                    <a:lnTo>
                      <a:pt x="434" y="560"/>
                    </a:lnTo>
                    <a:lnTo>
                      <a:pt x="432" y="556"/>
                    </a:lnTo>
                    <a:lnTo>
                      <a:pt x="426" y="552"/>
                    </a:lnTo>
                    <a:lnTo>
                      <a:pt x="424" y="548"/>
                    </a:lnTo>
                    <a:lnTo>
                      <a:pt x="422" y="544"/>
                    </a:lnTo>
                    <a:lnTo>
                      <a:pt x="424" y="538"/>
                    </a:lnTo>
                    <a:lnTo>
                      <a:pt x="422" y="534"/>
                    </a:lnTo>
                    <a:lnTo>
                      <a:pt x="420" y="526"/>
                    </a:lnTo>
                    <a:lnTo>
                      <a:pt x="414" y="518"/>
                    </a:lnTo>
                    <a:lnTo>
                      <a:pt x="404" y="514"/>
                    </a:lnTo>
                    <a:lnTo>
                      <a:pt x="392" y="512"/>
                    </a:lnTo>
                    <a:lnTo>
                      <a:pt x="374" y="510"/>
                    </a:lnTo>
                    <a:lnTo>
                      <a:pt x="354" y="510"/>
                    </a:lnTo>
                    <a:lnTo>
                      <a:pt x="344" y="510"/>
                    </a:lnTo>
                    <a:lnTo>
                      <a:pt x="332" y="514"/>
                    </a:lnTo>
                    <a:lnTo>
                      <a:pt x="322" y="518"/>
                    </a:lnTo>
                    <a:lnTo>
                      <a:pt x="310" y="524"/>
                    </a:lnTo>
                    <a:lnTo>
                      <a:pt x="298" y="532"/>
                    </a:lnTo>
                    <a:lnTo>
                      <a:pt x="284" y="540"/>
                    </a:lnTo>
                    <a:lnTo>
                      <a:pt x="258" y="562"/>
                    </a:lnTo>
                    <a:lnTo>
                      <a:pt x="236" y="582"/>
                    </a:lnTo>
                    <a:lnTo>
                      <a:pt x="218" y="604"/>
                    </a:lnTo>
                    <a:lnTo>
                      <a:pt x="212" y="612"/>
                    </a:lnTo>
                    <a:lnTo>
                      <a:pt x="206" y="622"/>
                    </a:lnTo>
                    <a:lnTo>
                      <a:pt x="204" y="632"/>
                    </a:lnTo>
                    <a:lnTo>
                      <a:pt x="202" y="642"/>
                    </a:lnTo>
                    <a:lnTo>
                      <a:pt x="200" y="662"/>
                    </a:lnTo>
                    <a:lnTo>
                      <a:pt x="202" y="680"/>
                    </a:lnTo>
                    <a:lnTo>
                      <a:pt x="206" y="696"/>
                    </a:lnTo>
                    <a:lnTo>
                      <a:pt x="210" y="712"/>
                    </a:lnTo>
                    <a:lnTo>
                      <a:pt x="216" y="728"/>
                    </a:lnTo>
                    <a:lnTo>
                      <a:pt x="230" y="758"/>
                    </a:lnTo>
                    <a:lnTo>
                      <a:pt x="242" y="784"/>
                    </a:lnTo>
                    <a:lnTo>
                      <a:pt x="256" y="808"/>
                    </a:lnTo>
                    <a:lnTo>
                      <a:pt x="262" y="814"/>
                    </a:lnTo>
                    <a:lnTo>
                      <a:pt x="270" y="820"/>
                    </a:lnTo>
                    <a:lnTo>
                      <a:pt x="280" y="824"/>
                    </a:lnTo>
                    <a:lnTo>
                      <a:pt x="282" y="824"/>
                    </a:lnTo>
                    <a:lnTo>
                      <a:pt x="280" y="824"/>
                    </a:lnTo>
                    <a:lnTo>
                      <a:pt x="276" y="824"/>
                    </a:lnTo>
                    <a:lnTo>
                      <a:pt x="272" y="826"/>
                    </a:lnTo>
                    <a:lnTo>
                      <a:pt x="264" y="830"/>
                    </a:lnTo>
                    <a:lnTo>
                      <a:pt x="254" y="840"/>
                    </a:lnTo>
                    <a:lnTo>
                      <a:pt x="248" y="846"/>
                    </a:lnTo>
                    <a:lnTo>
                      <a:pt x="242" y="844"/>
                    </a:lnTo>
                    <a:lnTo>
                      <a:pt x="158" y="882"/>
                    </a:lnTo>
                    <a:lnTo>
                      <a:pt x="116" y="902"/>
                    </a:lnTo>
                    <a:lnTo>
                      <a:pt x="100" y="912"/>
                    </a:lnTo>
                    <a:lnTo>
                      <a:pt x="92" y="918"/>
                    </a:lnTo>
                    <a:lnTo>
                      <a:pt x="88" y="924"/>
                    </a:lnTo>
                    <a:lnTo>
                      <a:pt x="84" y="932"/>
                    </a:lnTo>
                    <a:lnTo>
                      <a:pt x="80" y="954"/>
                    </a:lnTo>
                    <a:lnTo>
                      <a:pt x="70" y="988"/>
                    </a:lnTo>
                    <a:lnTo>
                      <a:pt x="64" y="1008"/>
                    </a:lnTo>
                    <a:lnTo>
                      <a:pt x="56" y="1022"/>
                    </a:lnTo>
                    <a:lnTo>
                      <a:pt x="50" y="1034"/>
                    </a:lnTo>
                    <a:lnTo>
                      <a:pt x="48" y="1044"/>
                    </a:lnTo>
                    <a:lnTo>
                      <a:pt x="46" y="1060"/>
                    </a:lnTo>
                    <a:lnTo>
                      <a:pt x="46" y="1086"/>
                    </a:lnTo>
                    <a:lnTo>
                      <a:pt x="48" y="1120"/>
                    </a:lnTo>
                    <a:lnTo>
                      <a:pt x="38" y="1144"/>
                    </a:lnTo>
                    <a:lnTo>
                      <a:pt x="32" y="1166"/>
                    </a:lnTo>
                    <a:lnTo>
                      <a:pt x="26" y="1186"/>
                    </a:lnTo>
                    <a:lnTo>
                      <a:pt x="24" y="1202"/>
                    </a:lnTo>
                    <a:lnTo>
                      <a:pt x="22" y="1228"/>
                    </a:lnTo>
                    <a:lnTo>
                      <a:pt x="20" y="1238"/>
                    </a:lnTo>
                    <a:lnTo>
                      <a:pt x="18" y="1244"/>
                    </a:lnTo>
                    <a:lnTo>
                      <a:pt x="18" y="1246"/>
                    </a:lnTo>
                    <a:lnTo>
                      <a:pt x="8" y="1288"/>
                    </a:lnTo>
                    <a:lnTo>
                      <a:pt x="2" y="1310"/>
                    </a:lnTo>
                    <a:lnTo>
                      <a:pt x="0" y="1324"/>
                    </a:lnTo>
                    <a:lnTo>
                      <a:pt x="2" y="1336"/>
                    </a:lnTo>
                    <a:lnTo>
                      <a:pt x="4" y="1340"/>
                    </a:lnTo>
                    <a:lnTo>
                      <a:pt x="12" y="1348"/>
                    </a:lnTo>
                    <a:lnTo>
                      <a:pt x="34" y="1370"/>
                    </a:lnTo>
                    <a:lnTo>
                      <a:pt x="48" y="1382"/>
                    </a:lnTo>
                    <a:lnTo>
                      <a:pt x="64" y="1394"/>
                    </a:lnTo>
                    <a:lnTo>
                      <a:pt x="172" y="1458"/>
                    </a:lnTo>
                    <a:lnTo>
                      <a:pt x="176" y="1460"/>
                    </a:lnTo>
                    <a:lnTo>
                      <a:pt x="178" y="1464"/>
                    </a:lnTo>
                    <a:lnTo>
                      <a:pt x="182" y="1470"/>
                    </a:lnTo>
                    <a:lnTo>
                      <a:pt x="184" y="1472"/>
                    </a:lnTo>
                    <a:lnTo>
                      <a:pt x="184" y="1476"/>
                    </a:lnTo>
                    <a:lnTo>
                      <a:pt x="172" y="1496"/>
                    </a:lnTo>
                    <a:lnTo>
                      <a:pt x="164" y="1514"/>
                    </a:lnTo>
                    <a:lnTo>
                      <a:pt x="156" y="1532"/>
                    </a:lnTo>
                    <a:lnTo>
                      <a:pt x="152" y="1548"/>
                    </a:lnTo>
                    <a:lnTo>
                      <a:pt x="150" y="1556"/>
                    </a:lnTo>
                    <a:lnTo>
                      <a:pt x="150" y="1570"/>
                    </a:lnTo>
                    <a:lnTo>
                      <a:pt x="136" y="1708"/>
                    </a:lnTo>
                    <a:lnTo>
                      <a:pt x="136" y="1718"/>
                    </a:lnTo>
                    <a:lnTo>
                      <a:pt x="136" y="1724"/>
                    </a:lnTo>
                    <a:lnTo>
                      <a:pt x="138" y="1730"/>
                    </a:lnTo>
                    <a:lnTo>
                      <a:pt x="140" y="1734"/>
                    </a:lnTo>
                    <a:lnTo>
                      <a:pt x="144" y="1736"/>
                    </a:lnTo>
                    <a:lnTo>
                      <a:pt x="146" y="1738"/>
                    </a:lnTo>
                    <a:lnTo>
                      <a:pt x="144" y="1750"/>
                    </a:lnTo>
                    <a:lnTo>
                      <a:pt x="144" y="1764"/>
                    </a:lnTo>
                    <a:lnTo>
                      <a:pt x="144" y="1780"/>
                    </a:lnTo>
                    <a:lnTo>
                      <a:pt x="144" y="1800"/>
                    </a:lnTo>
                    <a:lnTo>
                      <a:pt x="140" y="1826"/>
                    </a:lnTo>
                    <a:lnTo>
                      <a:pt x="136" y="1850"/>
                    </a:lnTo>
                    <a:lnTo>
                      <a:pt x="134" y="1872"/>
                    </a:lnTo>
                    <a:lnTo>
                      <a:pt x="130" y="1900"/>
                    </a:lnTo>
                    <a:lnTo>
                      <a:pt x="122" y="1936"/>
                    </a:lnTo>
                    <a:lnTo>
                      <a:pt x="116" y="1972"/>
                    </a:lnTo>
                    <a:lnTo>
                      <a:pt x="112" y="1998"/>
                    </a:lnTo>
                    <a:lnTo>
                      <a:pt x="106" y="2066"/>
                    </a:lnTo>
                    <a:lnTo>
                      <a:pt x="100" y="2126"/>
                    </a:lnTo>
                    <a:lnTo>
                      <a:pt x="100" y="2132"/>
                    </a:lnTo>
                    <a:lnTo>
                      <a:pt x="98" y="2136"/>
                    </a:lnTo>
                    <a:lnTo>
                      <a:pt x="96" y="2140"/>
                    </a:lnTo>
                    <a:lnTo>
                      <a:pt x="90" y="2150"/>
                    </a:lnTo>
                    <a:lnTo>
                      <a:pt x="76" y="2192"/>
                    </a:lnTo>
                    <a:lnTo>
                      <a:pt x="66" y="2222"/>
                    </a:lnTo>
                    <a:lnTo>
                      <a:pt x="58" y="2252"/>
                    </a:lnTo>
                    <a:lnTo>
                      <a:pt x="48" y="2296"/>
                    </a:lnTo>
                    <a:lnTo>
                      <a:pt x="48" y="2308"/>
                    </a:lnTo>
                    <a:lnTo>
                      <a:pt x="48" y="2318"/>
                    </a:lnTo>
                    <a:lnTo>
                      <a:pt x="50" y="2330"/>
                    </a:lnTo>
                    <a:lnTo>
                      <a:pt x="52" y="2344"/>
                    </a:lnTo>
                    <a:lnTo>
                      <a:pt x="50" y="2360"/>
                    </a:lnTo>
                    <a:lnTo>
                      <a:pt x="46" y="2376"/>
                    </a:lnTo>
                    <a:lnTo>
                      <a:pt x="42" y="2396"/>
                    </a:lnTo>
                    <a:lnTo>
                      <a:pt x="38" y="2414"/>
                    </a:lnTo>
                    <a:lnTo>
                      <a:pt x="38" y="2436"/>
                    </a:lnTo>
                    <a:lnTo>
                      <a:pt x="40" y="2462"/>
                    </a:lnTo>
                    <a:lnTo>
                      <a:pt x="40" y="2490"/>
                    </a:lnTo>
                    <a:lnTo>
                      <a:pt x="40" y="2516"/>
                    </a:lnTo>
                    <a:lnTo>
                      <a:pt x="32" y="2588"/>
                    </a:lnTo>
                    <a:lnTo>
                      <a:pt x="26" y="2646"/>
                    </a:lnTo>
                    <a:lnTo>
                      <a:pt x="14" y="2704"/>
                    </a:lnTo>
                    <a:lnTo>
                      <a:pt x="12" y="2706"/>
                    </a:lnTo>
                    <a:lnTo>
                      <a:pt x="8" y="2712"/>
                    </a:lnTo>
                    <a:lnTo>
                      <a:pt x="4" y="2734"/>
                    </a:lnTo>
                    <a:lnTo>
                      <a:pt x="0" y="2750"/>
                    </a:lnTo>
                    <a:lnTo>
                      <a:pt x="0" y="2774"/>
                    </a:lnTo>
                    <a:lnTo>
                      <a:pt x="2" y="2780"/>
                    </a:lnTo>
                    <a:lnTo>
                      <a:pt x="4" y="2786"/>
                    </a:lnTo>
                    <a:lnTo>
                      <a:pt x="10" y="2796"/>
                    </a:lnTo>
                    <a:lnTo>
                      <a:pt x="20" y="2808"/>
                    </a:lnTo>
                    <a:lnTo>
                      <a:pt x="24" y="2800"/>
                    </a:lnTo>
                    <a:lnTo>
                      <a:pt x="32" y="2826"/>
                    </a:lnTo>
                    <a:lnTo>
                      <a:pt x="34" y="2840"/>
                    </a:lnTo>
                    <a:lnTo>
                      <a:pt x="38" y="2862"/>
                    </a:lnTo>
                    <a:lnTo>
                      <a:pt x="42" y="2884"/>
                    </a:lnTo>
                    <a:lnTo>
                      <a:pt x="46" y="2900"/>
                    </a:lnTo>
                    <a:lnTo>
                      <a:pt x="52" y="2906"/>
                    </a:lnTo>
                    <a:lnTo>
                      <a:pt x="60" y="2912"/>
                    </a:lnTo>
                    <a:lnTo>
                      <a:pt x="84" y="2922"/>
                    </a:lnTo>
                    <a:lnTo>
                      <a:pt x="114" y="2932"/>
                    </a:lnTo>
                    <a:lnTo>
                      <a:pt x="144" y="2940"/>
                    </a:lnTo>
                    <a:lnTo>
                      <a:pt x="156" y="2944"/>
                    </a:lnTo>
                    <a:lnTo>
                      <a:pt x="168" y="2944"/>
                    </a:lnTo>
                    <a:lnTo>
                      <a:pt x="178" y="2944"/>
                    </a:lnTo>
                    <a:lnTo>
                      <a:pt x="188" y="2942"/>
                    </a:lnTo>
                    <a:lnTo>
                      <a:pt x="194" y="2940"/>
                    </a:lnTo>
                    <a:lnTo>
                      <a:pt x="200" y="2936"/>
                    </a:lnTo>
                    <a:lnTo>
                      <a:pt x="204" y="2932"/>
                    </a:lnTo>
                    <a:lnTo>
                      <a:pt x="206" y="2926"/>
                    </a:lnTo>
                    <a:lnTo>
                      <a:pt x="206" y="2922"/>
                    </a:lnTo>
                    <a:lnTo>
                      <a:pt x="206" y="2916"/>
                    </a:lnTo>
                    <a:lnTo>
                      <a:pt x="200" y="2904"/>
                    </a:lnTo>
                    <a:lnTo>
                      <a:pt x="186" y="2886"/>
                    </a:lnTo>
                    <a:lnTo>
                      <a:pt x="184" y="2882"/>
                    </a:lnTo>
                    <a:lnTo>
                      <a:pt x="184" y="2878"/>
                    </a:lnTo>
                    <a:lnTo>
                      <a:pt x="182" y="2868"/>
                    </a:lnTo>
                    <a:lnTo>
                      <a:pt x="178" y="2864"/>
                    </a:lnTo>
                    <a:lnTo>
                      <a:pt x="172" y="2860"/>
                    </a:lnTo>
                    <a:lnTo>
                      <a:pt x="166" y="2854"/>
                    </a:lnTo>
                    <a:lnTo>
                      <a:pt x="166" y="2852"/>
                    </a:lnTo>
                    <a:lnTo>
                      <a:pt x="164" y="2850"/>
                    </a:lnTo>
                    <a:lnTo>
                      <a:pt x="164" y="2838"/>
                    </a:lnTo>
                    <a:lnTo>
                      <a:pt x="158" y="2824"/>
                    </a:lnTo>
                    <a:lnTo>
                      <a:pt x="152" y="2808"/>
                    </a:lnTo>
                    <a:lnTo>
                      <a:pt x="150" y="2792"/>
                    </a:lnTo>
                    <a:lnTo>
                      <a:pt x="148" y="2786"/>
                    </a:lnTo>
                    <a:lnTo>
                      <a:pt x="146" y="2782"/>
                    </a:lnTo>
                    <a:lnTo>
                      <a:pt x="140" y="2776"/>
                    </a:lnTo>
                    <a:lnTo>
                      <a:pt x="140" y="2764"/>
                    </a:lnTo>
                    <a:lnTo>
                      <a:pt x="140" y="2756"/>
                    </a:lnTo>
                    <a:lnTo>
                      <a:pt x="144" y="2752"/>
                    </a:lnTo>
                    <a:lnTo>
                      <a:pt x="148" y="2748"/>
                    </a:lnTo>
                    <a:lnTo>
                      <a:pt x="152" y="2732"/>
                    </a:lnTo>
                    <a:lnTo>
                      <a:pt x="162" y="2656"/>
                    </a:lnTo>
                    <a:lnTo>
                      <a:pt x="180" y="2568"/>
                    </a:lnTo>
                    <a:lnTo>
                      <a:pt x="200" y="2476"/>
                    </a:lnTo>
                    <a:lnTo>
                      <a:pt x="212" y="2422"/>
                    </a:lnTo>
                    <a:lnTo>
                      <a:pt x="224" y="2366"/>
                    </a:lnTo>
                    <a:lnTo>
                      <a:pt x="234" y="2316"/>
                    </a:lnTo>
                    <a:lnTo>
                      <a:pt x="236" y="2294"/>
                    </a:lnTo>
                    <a:lnTo>
                      <a:pt x="238" y="2274"/>
                    </a:lnTo>
                    <a:lnTo>
                      <a:pt x="238" y="2256"/>
                    </a:lnTo>
                    <a:lnTo>
                      <a:pt x="242" y="2242"/>
                    </a:lnTo>
                    <a:lnTo>
                      <a:pt x="250" y="2212"/>
                    </a:lnTo>
                    <a:lnTo>
                      <a:pt x="254" y="2194"/>
                    </a:lnTo>
                    <a:lnTo>
                      <a:pt x="262" y="2176"/>
                    </a:lnTo>
                    <a:lnTo>
                      <a:pt x="272" y="2154"/>
                    </a:lnTo>
                    <a:lnTo>
                      <a:pt x="282" y="2130"/>
                    </a:lnTo>
                    <a:lnTo>
                      <a:pt x="316" y="2014"/>
                    </a:lnTo>
                    <a:lnTo>
                      <a:pt x="332" y="1956"/>
                    </a:lnTo>
                    <a:lnTo>
                      <a:pt x="338" y="1942"/>
                    </a:lnTo>
                    <a:lnTo>
                      <a:pt x="338" y="1940"/>
                    </a:lnTo>
                    <a:lnTo>
                      <a:pt x="338" y="1942"/>
                    </a:lnTo>
                    <a:lnTo>
                      <a:pt x="338" y="1944"/>
                    </a:lnTo>
                    <a:lnTo>
                      <a:pt x="338" y="1954"/>
                    </a:lnTo>
                    <a:lnTo>
                      <a:pt x="338" y="1968"/>
                    </a:lnTo>
                    <a:lnTo>
                      <a:pt x="344" y="2000"/>
                    </a:lnTo>
                    <a:lnTo>
                      <a:pt x="352" y="2036"/>
                    </a:lnTo>
                    <a:lnTo>
                      <a:pt x="344" y="2114"/>
                    </a:lnTo>
                    <a:lnTo>
                      <a:pt x="344" y="2136"/>
                    </a:lnTo>
                    <a:lnTo>
                      <a:pt x="346" y="2160"/>
                    </a:lnTo>
                    <a:lnTo>
                      <a:pt x="350" y="2192"/>
                    </a:lnTo>
                    <a:lnTo>
                      <a:pt x="348" y="2202"/>
                    </a:lnTo>
                    <a:lnTo>
                      <a:pt x="344" y="2218"/>
                    </a:lnTo>
                    <a:lnTo>
                      <a:pt x="336" y="2246"/>
                    </a:lnTo>
                    <a:lnTo>
                      <a:pt x="334" y="2260"/>
                    </a:lnTo>
                    <a:lnTo>
                      <a:pt x="334" y="2280"/>
                    </a:lnTo>
                    <a:lnTo>
                      <a:pt x="326" y="2322"/>
                    </a:lnTo>
                    <a:lnTo>
                      <a:pt x="320" y="2368"/>
                    </a:lnTo>
                    <a:lnTo>
                      <a:pt x="316" y="2408"/>
                    </a:lnTo>
                    <a:lnTo>
                      <a:pt x="314" y="2434"/>
                    </a:lnTo>
                    <a:lnTo>
                      <a:pt x="310" y="2468"/>
                    </a:lnTo>
                    <a:lnTo>
                      <a:pt x="294" y="2584"/>
                    </a:lnTo>
                    <a:lnTo>
                      <a:pt x="290" y="2592"/>
                    </a:lnTo>
                    <a:lnTo>
                      <a:pt x="286" y="2602"/>
                    </a:lnTo>
                    <a:lnTo>
                      <a:pt x="280" y="2616"/>
                    </a:lnTo>
                    <a:lnTo>
                      <a:pt x="276" y="2630"/>
                    </a:lnTo>
                    <a:lnTo>
                      <a:pt x="272" y="2652"/>
                    </a:lnTo>
                    <a:lnTo>
                      <a:pt x="272" y="2660"/>
                    </a:lnTo>
                    <a:lnTo>
                      <a:pt x="260" y="2680"/>
                    </a:lnTo>
                    <a:lnTo>
                      <a:pt x="254" y="2682"/>
                    </a:lnTo>
                    <a:lnTo>
                      <a:pt x="248" y="2698"/>
                    </a:lnTo>
                    <a:lnTo>
                      <a:pt x="264" y="2722"/>
                    </a:lnTo>
                    <a:lnTo>
                      <a:pt x="272" y="2730"/>
                    </a:lnTo>
                    <a:lnTo>
                      <a:pt x="284" y="2738"/>
                    </a:lnTo>
                    <a:lnTo>
                      <a:pt x="298" y="2748"/>
                    </a:lnTo>
                    <a:lnTo>
                      <a:pt x="310" y="2738"/>
                    </a:lnTo>
                    <a:lnTo>
                      <a:pt x="312" y="2742"/>
                    </a:lnTo>
                    <a:lnTo>
                      <a:pt x="316" y="2746"/>
                    </a:lnTo>
                    <a:lnTo>
                      <a:pt x="320" y="2752"/>
                    </a:lnTo>
                    <a:lnTo>
                      <a:pt x="328" y="2764"/>
                    </a:lnTo>
                    <a:lnTo>
                      <a:pt x="340" y="2784"/>
                    </a:lnTo>
                    <a:lnTo>
                      <a:pt x="354" y="2820"/>
                    </a:lnTo>
                    <a:lnTo>
                      <a:pt x="360" y="2828"/>
                    </a:lnTo>
                    <a:lnTo>
                      <a:pt x="368" y="2840"/>
                    </a:lnTo>
                    <a:lnTo>
                      <a:pt x="386" y="2862"/>
                    </a:lnTo>
                    <a:lnTo>
                      <a:pt x="392" y="2864"/>
                    </a:lnTo>
                    <a:lnTo>
                      <a:pt x="398" y="2868"/>
                    </a:lnTo>
                    <a:lnTo>
                      <a:pt x="414" y="2872"/>
                    </a:lnTo>
                    <a:lnTo>
                      <a:pt x="448" y="2878"/>
                    </a:lnTo>
                    <a:lnTo>
                      <a:pt x="462" y="2880"/>
                    </a:lnTo>
                    <a:lnTo>
                      <a:pt x="478" y="2880"/>
                    </a:lnTo>
                    <a:lnTo>
                      <a:pt x="498" y="2878"/>
                    </a:lnTo>
                    <a:lnTo>
                      <a:pt x="500" y="2876"/>
                    </a:lnTo>
                    <a:lnTo>
                      <a:pt x="500" y="2872"/>
                    </a:lnTo>
                    <a:lnTo>
                      <a:pt x="500" y="2864"/>
                    </a:lnTo>
                    <a:lnTo>
                      <a:pt x="498" y="2856"/>
                    </a:lnTo>
                    <a:lnTo>
                      <a:pt x="494" y="2848"/>
                    </a:lnTo>
                    <a:lnTo>
                      <a:pt x="486" y="2840"/>
                    </a:lnTo>
                    <a:lnTo>
                      <a:pt x="478" y="2832"/>
                    </a:lnTo>
                    <a:lnTo>
                      <a:pt x="466" y="2824"/>
                    </a:lnTo>
                    <a:lnTo>
                      <a:pt x="452" y="2818"/>
                    </a:lnTo>
                    <a:lnTo>
                      <a:pt x="436" y="2810"/>
                    </a:lnTo>
                    <a:lnTo>
                      <a:pt x="438" y="2786"/>
                    </a:lnTo>
                    <a:lnTo>
                      <a:pt x="438" y="2780"/>
                    </a:lnTo>
                    <a:lnTo>
                      <a:pt x="436" y="2776"/>
                    </a:lnTo>
                    <a:lnTo>
                      <a:pt x="432" y="2770"/>
                    </a:lnTo>
                    <a:lnTo>
                      <a:pt x="432" y="2766"/>
                    </a:lnTo>
                    <a:lnTo>
                      <a:pt x="432" y="2758"/>
                    </a:lnTo>
                    <a:lnTo>
                      <a:pt x="434" y="2744"/>
                    </a:lnTo>
                    <a:lnTo>
                      <a:pt x="434" y="2732"/>
                    </a:lnTo>
                    <a:lnTo>
                      <a:pt x="432" y="2720"/>
                    </a:lnTo>
                    <a:lnTo>
                      <a:pt x="432" y="2712"/>
                    </a:lnTo>
                    <a:lnTo>
                      <a:pt x="432" y="2706"/>
                    </a:lnTo>
                    <a:lnTo>
                      <a:pt x="434" y="2700"/>
                    </a:lnTo>
                    <a:lnTo>
                      <a:pt x="438" y="2686"/>
                    </a:lnTo>
                    <a:lnTo>
                      <a:pt x="440" y="2672"/>
                    </a:lnTo>
                    <a:lnTo>
                      <a:pt x="440" y="2656"/>
                    </a:lnTo>
                    <a:lnTo>
                      <a:pt x="440" y="2638"/>
                    </a:lnTo>
                    <a:lnTo>
                      <a:pt x="442" y="2614"/>
                    </a:lnTo>
                    <a:lnTo>
                      <a:pt x="454" y="2542"/>
                    </a:lnTo>
                    <a:lnTo>
                      <a:pt x="460" y="2496"/>
                    </a:lnTo>
                    <a:lnTo>
                      <a:pt x="470" y="2456"/>
                    </a:lnTo>
                    <a:lnTo>
                      <a:pt x="478" y="2418"/>
                    </a:lnTo>
                    <a:lnTo>
                      <a:pt x="484" y="2380"/>
                    </a:lnTo>
                    <a:lnTo>
                      <a:pt x="490" y="2328"/>
                    </a:lnTo>
                    <a:lnTo>
                      <a:pt x="492" y="2302"/>
                    </a:lnTo>
                    <a:lnTo>
                      <a:pt x="494" y="2282"/>
                    </a:lnTo>
                    <a:lnTo>
                      <a:pt x="504" y="2236"/>
                    </a:lnTo>
                    <a:lnTo>
                      <a:pt x="504" y="2228"/>
                    </a:lnTo>
                    <a:lnTo>
                      <a:pt x="504" y="2218"/>
                    </a:lnTo>
                    <a:lnTo>
                      <a:pt x="504" y="2202"/>
                    </a:lnTo>
                    <a:lnTo>
                      <a:pt x="504" y="2180"/>
                    </a:lnTo>
                    <a:lnTo>
                      <a:pt x="508" y="2154"/>
                    </a:lnTo>
                    <a:lnTo>
                      <a:pt x="514" y="2126"/>
                    </a:lnTo>
                    <a:lnTo>
                      <a:pt x="526" y="2082"/>
                    </a:lnTo>
                    <a:lnTo>
                      <a:pt x="544" y="1970"/>
                    </a:lnTo>
                    <a:lnTo>
                      <a:pt x="556" y="1916"/>
                    </a:lnTo>
                    <a:lnTo>
                      <a:pt x="562" y="1878"/>
                    </a:lnTo>
                    <a:lnTo>
                      <a:pt x="566" y="1832"/>
                    </a:lnTo>
                    <a:lnTo>
                      <a:pt x="570" y="1764"/>
                    </a:lnTo>
                    <a:lnTo>
                      <a:pt x="572" y="1758"/>
                    </a:lnTo>
                    <a:lnTo>
                      <a:pt x="568" y="1748"/>
                    </a:lnTo>
                    <a:lnTo>
                      <a:pt x="568" y="1740"/>
                    </a:lnTo>
                    <a:lnTo>
                      <a:pt x="568" y="1736"/>
                    </a:lnTo>
                    <a:lnTo>
                      <a:pt x="570" y="1724"/>
                    </a:lnTo>
                    <a:lnTo>
                      <a:pt x="570" y="1702"/>
                    </a:lnTo>
                    <a:lnTo>
                      <a:pt x="568" y="1660"/>
                    </a:lnTo>
                    <a:lnTo>
                      <a:pt x="568" y="1638"/>
                    </a:lnTo>
                    <a:lnTo>
                      <a:pt x="570" y="1626"/>
                    </a:lnTo>
                    <a:lnTo>
                      <a:pt x="572" y="1616"/>
                    </a:lnTo>
                    <a:lnTo>
                      <a:pt x="572" y="1602"/>
                    </a:lnTo>
                    <a:lnTo>
                      <a:pt x="568" y="1562"/>
                    </a:lnTo>
                    <a:lnTo>
                      <a:pt x="566" y="1540"/>
                    </a:lnTo>
                    <a:lnTo>
                      <a:pt x="572" y="1536"/>
                    </a:lnTo>
                    <a:lnTo>
                      <a:pt x="576" y="1528"/>
                    </a:lnTo>
                    <a:lnTo>
                      <a:pt x="580" y="1510"/>
                    </a:lnTo>
                    <a:lnTo>
                      <a:pt x="582" y="1496"/>
                    </a:lnTo>
                    <a:lnTo>
                      <a:pt x="582" y="1488"/>
                    </a:lnTo>
                    <a:lnTo>
                      <a:pt x="610" y="1484"/>
                    </a:lnTo>
                    <a:lnTo>
                      <a:pt x="616" y="1482"/>
                    </a:lnTo>
                    <a:lnTo>
                      <a:pt x="620" y="1476"/>
                    </a:lnTo>
                    <a:lnTo>
                      <a:pt x="624" y="1470"/>
                    </a:lnTo>
                    <a:lnTo>
                      <a:pt x="662" y="1468"/>
                    </a:lnTo>
                    <a:lnTo>
                      <a:pt x="720" y="1468"/>
                    </a:lnTo>
                    <a:lnTo>
                      <a:pt x="744" y="1468"/>
                    </a:lnTo>
                    <a:lnTo>
                      <a:pt x="774" y="1466"/>
                    </a:lnTo>
                    <a:lnTo>
                      <a:pt x="810" y="1462"/>
                    </a:lnTo>
                    <a:lnTo>
                      <a:pt x="828" y="1458"/>
                    </a:lnTo>
                    <a:lnTo>
                      <a:pt x="846" y="1452"/>
                    </a:lnTo>
                    <a:lnTo>
                      <a:pt x="854" y="1448"/>
                    </a:lnTo>
                    <a:lnTo>
                      <a:pt x="860" y="1442"/>
                    </a:lnTo>
                    <a:lnTo>
                      <a:pt x="866" y="1438"/>
                    </a:lnTo>
                    <a:lnTo>
                      <a:pt x="870" y="1430"/>
                    </a:lnTo>
                    <a:lnTo>
                      <a:pt x="876" y="1418"/>
                    </a:lnTo>
                    <a:lnTo>
                      <a:pt x="880" y="1404"/>
                    </a:lnTo>
                    <a:lnTo>
                      <a:pt x="880" y="1390"/>
                    </a:lnTo>
                    <a:lnTo>
                      <a:pt x="880" y="1380"/>
                    </a:lnTo>
                    <a:lnTo>
                      <a:pt x="878" y="1370"/>
                    </a:lnTo>
                    <a:close/>
                    <a:moveTo>
                      <a:pt x="192" y="1304"/>
                    </a:moveTo>
                    <a:lnTo>
                      <a:pt x="192" y="1304"/>
                    </a:lnTo>
                    <a:lnTo>
                      <a:pt x="180" y="1304"/>
                    </a:lnTo>
                    <a:lnTo>
                      <a:pt x="176" y="1302"/>
                    </a:lnTo>
                    <a:lnTo>
                      <a:pt x="174" y="1300"/>
                    </a:lnTo>
                    <a:lnTo>
                      <a:pt x="170" y="1294"/>
                    </a:lnTo>
                    <a:lnTo>
                      <a:pt x="168" y="1292"/>
                    </a:lnTo>
                    <a:lnTo>
                      <a:pt x="160" y="1286"/>
                    </a:lnTo>
                    <a:lnTo>
                      <a:pt x="158" y="1280"/>
                    </a:lnTo>
                    <a:lnTo>
                      <a:pt x="156" y="1276"/>
                    </a:lnTo>
                    <a:lnTo>
                      <a:pt x="152" y="1274"/>
                    </a:lnTo>
                    <a:lnTo>
                      <a:pt x="154" y="1270"/>
                    </a:lnTo>
                    <a:lnTo>
                      <a:pt x="154" y="1266"/>
                    </a:lnTo>
                    <a:lnTo>
                      <a:pt x="152" y="1260"/>
                    </a:lnTo>
                    <a:lnTo>
                      <a:pt x="146" y="1246"/>
                    </a:lnTo>
                    <a:lnTo>
                      <a:pt x="150" y="1224"/>
                    </a:lnTo>
                    <a:lnTo>
                      <a:pt x="160" y="1214"/>
                    </a:lnTo>
                    <a:lnTo>
                      <a:pt x="170" y="1204"/>
                    </a:lnTo>
                    <a:lnTo>
                      <a:pt x="172" y="1200"/>
                    </a:lnTo>
                    <a:lnTo>
                      <a:pt x="174" y="1194"/>
                    </a:lnTo>
                    <a:lnTo>
                      <a:pt x="186" y="1212"/>
                    </a:lnTo>
                    <a:lnTo>
                      <a:pt x="196" y="1228"/>
                    </a:lnTo>
                    <a:lnTo>
                      <a:pt x="202" y="1242"/>
                    </a:lnTo>
                    <a:lnTo>
                      <a:pt x="206" y="1264"/>
                    </a:lnTo>
                    <a:lnTo>
                      <a:pt x="208" y="1274"/>
                    </a:lnTo>
                    <a:lnTo>
                      <a:pt x="208" y="1288"/>
                    </a:lnTo>
                    <a:lnTo>
                      <a:pt x="208" y="1308"/>
                    </a:lnTo>
                    <a:lnTo>
                      <a:pt x="210" y="1312"/>
                    </a:lnTo>
                    <a:lnTo>
                      <a:pt x="204" y="1308"/>
                    </a:lnTo>
                    <a:lnTo>
                      <a:pt x="192" y="1304"/>
                    </a:lnTo>
                    <a:close/>
                  </a:path>
                </a:pathLst>
              </a:custGeom>
              <a:solidFill>
                <a:schemeClr val="bg2">
                  <a:lumMod val="75000"/>
                </a:schemeClr>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29718" name="Freeform 54"/>
              <p:cNvSpPr>
                <a:spLocks/>
              </p:cNvSpPr>
              <p:nvPr/>
            </p:nvSpPr>
            <p:spPr bwMode="auto">
              <a:xfrm>
                <a:off x="2090737" y="-1489075"/>
                <a:ext cx="368300" cy="454025"/>
              </a:xfrm>
              <a:custGeom>
                <a:avLst/>
                <a:gdLst>
                  <a:gd name="T0" fmla="*/ 2147483647 w 232"/>
                  <a:gd name="T1" fmla="*/ 0 h 286"/>
                  <a:gd name="T2" fmla="*/ 2147483647 w 232"/>
                  <a:gd name="T3" fmla="*/ 2147483647 h 286"/>
                  <a:gd name="T4" fmla="*/ 2147483647 w 232"/>
                  <a:gd name="T5" fmla="*/ 2147483647 h 286"/>
                  <a:gd name="T6" fmla="*/ 2147483647 w 232"/>
                  <a:gd name="T7" fmla="*/ 2147483647 h 286"/>
                  <a:gd name="T8" fmla="*/ 2147483647 w 232"/>
                  <a:gd name="T9" fmla="*/ 2147483647 h 286"/>
                  <a:gd name="T10" fmla="*/ 2147483647 w 232"/>
                  <a:gd name="T11" fmla="*/ 2147483647 h 286"/>
                  <a:gd name="T12" fmla="*/ 2147483647 w 232"/>
                  <a:gd name="T13" fmla="*/ 2147483647 h 286"/>
                  <a:gd name="T14" fmla="*/ 2147483647 w 232"/>
                  <a:gd name="T15" fmla="*/ 2147483647 h 286"/>
                  <a:gd name="T16" fmla="*/ 2147483647 w 232"/>
                  <a:gd name="T17" fmla="*/ 2147483647 h 286"/>
                  <a:gd name="T18" fmla="*/ 2147483647 w 232"/>
                  <a:gd name="T19" fmla="*/ 2147483647 h 286"/>
                  <a:gd name="T20" fmla="*/ 2147483647 w 232"/>
                  <a:gd name="T21" fmla="*/ 2147483647 h 286"/>
                  <a:gd name="T22" fmla="*/ 2147483647 w 232"/>
                  <a:gd name="T23" fmla="*/ 2147483647 h 286"/>
                  <a:gd name="T24" fmla="*/ 2147483647 w 232"/>
                  <a:gd name="T25" fmla="*/ 2147483647 h 286"/>
                  <a:gd name="T26" fmla="*/ 2147483647 w 232"/>
                  <a:gd name="T27" fmla="*/ 2147483647 h 286"/>
                  <a:gd name="T28" fmla="*/ 2147483647 w 232"/>
                  <a:gd name="T29" fmla="*/ 2147483647 h 286"/>
                  <a:gd name="T30" fmla="*/ 2147483647 w 232"/>
                  <a:gd name="T31" fmla="*/ 2147483647 h 286"/>
                  <a:gd name="T32" fmla="*/ 2147483647 w 232"/>
                  <a:gd name="T33" fmla="*/ 2147483647 h 286"/>
                  <a:gd name="T34" fmla="*/ 2147483647 w 232"/>
                  <a:gd name="T35" fmla="*/ 2147483647 h 286"/>
                  <a:gd name="T36" fmla="*/ 2147483647 w 232"/>
                  <a:gd name="T37" fmla="*/ 2147483647 h 286"/>
                  <a:gd name="T38" fmla="*/ 2147483647 w 232"/>
                  <a:gd name="T39" fmla="*/ 2147483647 h 286"/>
                  <a:gd name="T40" fmla="*/ 2147483647 w 232"/>
                  <a:gd name="T41" fmla="*/ 2147483647 h 286"/>
                  <a:gd name="T42" fmla="*/ 2147483647 w 232"/>
                  <a:gd name="T43" fmla="*/ 2147483647 h 286"/>
                  <a:gd name="T44" fmla="*/ 2147483647 w 232"/>
                  <a:gd name="T45" fmla="*/ 2147483647 h 286"/>
                  <a:gd name="T46" fmla="*/ 2147483647 w 232"/>
                  <a:gd name="T47" fmla="*/ 2147483647 h 286"/>
                  <a:gd name="T48" fmla="*/ 2147483647 w 232"/>
                  <a:gd name="T49" fmla="*/ 2147483647 h 286"/>
                  <a:gd name="T50" fmla="*/ 2147483647 w 232"/>
                  <a:gd name="T51" fmla="*/ 2147483647 h 286"/>
                  <a:gd name="T52" fmla="*/ 2147483647 w 232"/>
                  <a:gd name="T53" fmla="*/ 2147483647 h 286"/>
                  <a:gd name="T54" fmla="*/ 2147483647 w 232"/>
                  <a:gd name="T55" fmla="*/ 2147483647 h 286"/>
                  <a:gd name="T56" fmla="*/ 2147483647 w 232"/>
                  <a:gd name="T57" fmla="*/ 2147483647 h 286"/>
                  <a:gd name="T58" fmla="*/ 2147483647 w 232"/>
                  <a:gd name="T59" fmla="*/ 2147483647 h 286"/>
                  <a:gd name="T60" fmla="*/ 2147483647 w 232"/>
                  <a:gd name="T61" fmla="*/ 2147483647 h 286"/>
                  <a:gd name="T62" fmla="*/ 2147483647 w 232"/>
                  <a:gd name="T63" fmla="*/ 2147483647 h 286"/>
                  <a:gd name="T64" fmla="*/ 2147483647 w 232"/>
                  <a:gd name="T65" fmla="*/ 2147483647 h 286"/>
                  <a:gd name="T66" fmla="*/ 2147483647 w 232"/>
                  <a:gd name="T67" fmla="*/ 2147483647 h 286"/>
                  <a:gd name="T68" fmla="*/ 0 w 232"/>
                  <a:gd name="T69" fmla="*/ 2147483647 h 28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2"/>
                  <a:gd name="T106" fmla="*/ 0 h 286"/>
                  <a:gd name="T107" fmla="*/ 232 w 232"/>
                  <a:gd name="T108" fmla="*/ 286 h 28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2" h="286">
                    <a:moveTo>
                      <a:pt x="32" y="0"/>
                    </a:moveTo>
                    <a:lnTo>
                      <a:pt x="32" y="0"/>
                    </a:lnTo>
                    <a:lnTo>
                      <a:pt x="90" y="50"/>
                    </a:lnTo>
                    <a:lnTo>
                      <a:pt x="134" y="86"/>
                    </a:lnTo>
                    <a:lnTo>
                      <a:pt x="154" y="100"/>
                    </a:lnTo>
                    <a:lnTo>
                      <a:pt x="166" y="108"/>
                    </a:lnTo>
                    <a:lnTo>
                      <a:pt x="190" y="86"/>
                    </a:lnTo>
                    <a:lnTo>
                      <a:pt x="206" y="68"/>
                    </a:lnTo>
                    <a:lnTo>
                      <a:pt x="216" y="58"/>
                    </a:lnTo>
                    <a:lnTo>
                      <a:pt x="218" y="58"/>
                    </a:lnTo>
                    <a:lnTo>
                      <a:pt x="220" y="60"/>
                    </a:lnTo>
                    <a:lnTo>
                      <a:pt x="222" y="66"/>
                    </a:lnTo>
                    <a:lnTo>
                      <a:pt x="222" y="82"/>
                    </a:lnTo>
                    <a:lnTo>
                      <a:pt x="220" y="108"/>
                    </a:lnTo>
                    <a:lnTo>
                      <a:pt x="218" y="138"/>
                    </a:lnTo>
                    <a:lnTo>
                      <a:pt x="208" y="136"/>
                    </a:lnTo>
                    <a:lnTo>
                      <a:pt x="214" y="172"/>
                    </a:lnTo>
                    <a:lnTo>
                      <a:pt x="222" y="194"/>
                    </a:lnTo>
                    <a:lnTo>
                      <a:pt x="226" y="218"/>
                    </a:lnTo>
                    <a:lnTo>
                      <a:pt x="230" y="248"/>
                    </a:lnTo>
                    <a:lnTo>
                      <a:pt x="232" y="286"/>
                    </a:lnTo>
                    <a:lnTo>
                      <a:pt x="222" y="230"/>
                    </a:lnTo>
                    <a:lnTo>
                      <a:pt x="212" y="188"/>
                    </a:lnTo>
                    <a:lnTo>
                      <a:pt x="206" y="170"/>
                    </a:lnTo>
                    <a:lnTo>
                      <a:pt x="198" y="160"/>
                    </a:lnTo>
                    <a:lnTo>
                      <a:pt x="198" y="126"/>
                    </a:lnTo>
                    <a:lnTo>
                      <a:pt x="188" y="120"/>
                    </a:lnTo>
                    <a:lnTo>
                      <a:pt x="178" y="114"/>
                    </a:lnTo>
                    <a:lnTo>
                      <a:pt x="168" y="112"/>
                    </a:lnTo>
                    <a:lnTo>
                      <a:pt x="164" y="112"/>
                    </a:lnTo>
                    <a:lnTo>
                      <a:pt x="160" y="114"/>
                    </a:lnTo>
                    <a:lnTo>
                      <a:pt x="148" y="122"/>
                    </a:lnTo>
                    <a:lnTo>
                      <a:pt x="138" y="132"/>
                    </a:lnTo>
                    <a:lnTo>
                      <a:pt x="126" y="142"/>
                    </a:lnTo>
                    <a:lnTo>
                      <a:pt x="112" y="154"/>
                    </a:lnTo>
                    <a:lnTo>
                      <a:pt x="122" y="148"/>
                    </a:lnTo>
                    <a:lnTo>
                      <a:pt x="138" y="140"/>
                    </a:lnTo>
                    <a:lnTo>
                      <a:pt x="144" y="138"/>
                    </a:lnTo>
                    <a:lnTo>
                      <a:pt x="146" y="136"/>
                    </a:lnTo>
                    <a:lnTo>
                      <a:pt x="170" y="158"/>
                    </a:lnTo>
                    <a:lnTo>
                      <a:pt x="168" y="162"/>
                    </a:lnTo>
                    <a:lnTo>
                      <a:pt x="164" y="170"/>
                    </a:lnTo>
                    <a:lnTo>
                      <a:pt x="162" y="182"/>
                    </a:lnTo>
                    <a:lnTo>
                      <a:pt x="158" y="196"/>
                    </a:lnTo>
                    <a:lnTo>
                      <a:pt x="158" y="218"/>
                    </a:lnTo>
                    <a:lnTo>
                      <a:pt x="158" y="244"/>
                    </a:lnTo>
                    <a:lnTo>
                      <a:pt x="162" y="276"/>
                    </a:lnTo>
                    <a:lnTo>
                      <a:pt x="134" y="216"/>
                    </a:lnTo>
                    <a:lnTo>
                      <a:pt x="112" y="172"/>
                    </a:lnTo>
                    <a:lnTo>
                      <a:pt x="102" y="156"/>
                    </a:lnTo>
                    <a:lnTo>
                      <a:pt x="96" y="146"/>
                    </a:lnTo>
                    <a:lnTo>
                      <a:pt x="52" y="98"/>
                    </a:lnTo>
                    <a:lnTo>
                      <a:pt x="28" y="72"/>
                    </a:lnTo>
                    <a:lnTo>
                      <a:pt x="16" y="56"/>
                    </a:lnTo>
                    <a:lnTo>
                      <a:pt x="12" y="50"/>
                    </a:lnTo>
                    <a:lnTo>
                      <a:pt x="8" y="40"/>
                    </a:lnTo>
                    <a:lnTo>
                      <a:pt x="0" y="30"/>
                    </a:ln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82" name="Freeform 55"/>
              <p:cNvSpPr>
                <a:spLocks/>
              </p:cNvSpPr>
              <p:nvPr/>
            </p:nvSpPr>
            <p:spPr bwMode="auto">
              <a:xfrm>
                <a:off x="2312914" y="-1309961"/>
                <a:ext cx="145304" cy="417628"/>
              </a:xfrm>
              <a:custGeom>
                <a:avLst/>
                <a:gdLst/>
                <a:ahLst/>
                <a:cxnLst>
                  <a:cxn ang="0">
                    <a:pos x="0" y="16"/>
                  </a:cxn>
                  <a:cxn ang="0">
                    <a:pos x="32" y="46"/>
                  </a:cxn>
                  <a:cxn ang="0">
                    <a:pos x="32" y="46"/>
                  </a:cxn>
                  <a:cxn ang="0">
                    <a:pos x="28" y="58"/>
                  </a:cxn>
                  <a:cxn ang="0">
                    <a:pos x="20" y="86"/>
                  </a:cxn>
                  <a:cxn ang="0">
                    <a:pos x="18" y="104"/>
                  </a:cxn>
                  <a:cxn ang="0">
                    <a:pos x="18" y="124"/>
                  </a:cxn>
                  <a:cxn ang="0">
                    <a:pos x="20" y="144"/>
                  </a:cxn>
                  <a:cxn ang="0">
                    <a:pos x="24" y="164"/>
                  </a:cxn>
                  <a:cxn ang="0">
                    <a:pos x="74" y="266"/>
                  </a:cxn>
                  <a:cxn ang="0">
                    <a:pos x="94" y="174"/>
                  </a:cxn>
                  <a:cxn ang="0">
                    <a:pos x="60" y="48"/>
                  </a:cxn>
                  <a:cxn ang="0">
                    <a:pos x="60" y="14"/>
                  </a:cxn>
                  <a:cxn ang="0">
                    <a:pos x="60" y="14"/>
                  </a:cxn>
                  <a:cxn ang="0">
                    <a:pos x="56" y="10"/>
                  </a:cxn>
                  <a:cxn ang="0">
                    <a:pos x="50" y="6"/>
                  </a:cxn>
                  <a:cxn ang="0">
                    <a:pos x="42" y="2"/>
                  </a:cxn>
                  <a:cxn ang="0">
                    <a:pos x="32" y="0"/>
                  </a:cxn>
                  <a:cxn ang="0">
                    <a:pos x="22" y="0"/>
                  </a:cxn>
                  <a:cxn ang="0">
                    <a:pos x="12" y="6"/>
                  </a:cxn>
                  <a:cxn ang="0">
                    <a:pos x="0" y="16"/>
                  </a:cxn>
                  <a:cxn ang="0">
                    <a:pos x="0" y="16"/>
                  </a:cxn>
                </a:cxnLst>
                <a:rect l="0" t="0" r="r" b="b"/>
                <a:pathLst>
                  <a:path w="94" h="266">
                    <a:moveTo>
                      <a:pt x="0" y="16"/>
                    </a:moveTo>
                    <a:lnTo>
                      <a:pt x="32" y="46"/>
                    </a:lnTo>
                    <a:lnTo>
                      <a:pt x="32" y="46"/>
                    </a:lnTo>
                    <a:lnTo>
                      <a:pt x="28" y="58"/>
                    </a:lnTo>
                    <a:lnTo>
                      <a:pt x="20" y="86"/>
                    </a:lnTo>
                    <a:lnTo>
                      <a:pt x="18" y="104"/>
                    </a:lnTo>
                    <a:lnTo>
                      <a:pt x="18" y="124"/>
                    </a:lnTo>
                    <a:lnTo>
                      <a:pt x="20" y="144"/>
                    </a:lnTo>
                    <a:lnTo>
                      <a:pt x="24" y="164"/>
                    </a:lnTo>
                    <a:lnTo>
                      <a:pt x="74" y="266"/>
                    </a:lnTo>
                    <a:lnTo>
                      <a:pt x="94" y="174"/>
                    </a:lnTo>
                    <a:lnTo>
                      <a:pt x="60" y="48"/>
                    </a:lnTo>
                    <a:lnTo>
                      <a:pt x="60" y="14"/>
                    </a:lnTo>
                    <a:lnTo>
                      <a:pt x="60" y="14"/>
                    </a:lnTo>
                    <a:lnTo>
                      <a:pt x="56" y="10"/>
                    </a:lnTo>
                    <a:lnTo>
                      <a:pt x="50" y="6"/>
                    </a:lnTo>
                    <a:lnTo>
                      <a:pt x="42" y="2"/>
                    </a:lnTo>
                    <a:lnTo>
                      <a:pt x="32" y="0"/>
                    </a:lnTo>
                    <a:lnTo>
                      <a:pt x="22" y="0"/>
                    </a:lnTo>
                    <a:lnTo>
                      <a:pt x="12" y="6"/>
                    </a:lnTo>
                    <a:lnTo>
                      <a:pt x="0" y="16"/>
                    </a:lnTo>
                    <a:lnTo>
                      <a:pt x="0" y="16"/>
                    </a:lnTo>
                    <a:close/>
                  </a:path>
                </a:pathLst>
              </a:custGeom>
              <a:solidFill>
                <a:schemeClr val="accent1">
                  <a:lumMod val="75000"/>
                </a:schemeClr>
              </a:solidFill>
              <a:ln w="9525">
                <a:solidFill>
                  <a:schemeClr val="accent1">
                    <a:lumMod val="75000"/>
                  </a:schemeClr>
                </a:solidFill>
                <a:miter lim="800000"/>
                <a:headEnd/>
                <a:tailEnd/>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1">
                  <a:ln>
                    <a:noFill/>
                  </a:ln>
                  <a:solidFill>
                    <a:srgbClr val="FFFFFF"/>
                  </a:solidFill>
                  <a:effectLst/>
                  <a:uLnTx/>
                  <a:uFillTx/>
                  <a:latin typeface="Arial Narrow" pitchFamily="34" charset="0"/>
                  <a:ea typeface="ＭＳ Ｐゴシック" charset="-128"/>
                  <a:cs typeface="Arial" charset="0"/>
                </a:endParaRPr>
              </a:p>
            </p:txBody>
          </p:sp>
        </p:grpSp>
        <p:sp>
          <p:nvSpPr>
            <p:cNvPr id="79" name="Ellipse 172"/>
            <p:cNvSpPr/>
            <p:nvPr/>
          </p:nvSpPr>
          <p:spPr bwMode="auto">
            <a:xfrm flipH="1">
              <a:off x="7506686" y="5922884"/>
              <a:ext cx="1387777" cy="249316"/>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itchFamily="34" charset="0"/>
                <a:ea typeface="ＭＳ Ｐゴシック" charset="-128"/>
                <a:cs typeface="Arial" charset="0"/>
              </a:endParaRPr>
            </a:p>
          </p:txBody>
        </p:sp>
      </p:grpSp>
      <p:grpSp>
        <p:nvGrpSpPr>
          <p:cNvPr id="12" name="Group 11">
            <a:extLst>
              <a:ext uri="{FF2B5EF4-FFF2-40B4-BE49-F238E27FC236}">
                <a16:creationId xmlns:a16="http://schemas.microsoft.com/office/drawing/2014/main" id="{60E9E0E5-AABC-4D84-8ECF-BE09D625492A}"/>
              </a:ext>
            </a:extLst>
          </p:cNvPr>
          <p:cNvGrpSpPr/>
          <p:nvPr/>
        </p:nvGrpSpPr>
        <p:grpSpPr>
          <a:xfrm>
            <a:off x="457200" y="5287962"/>
            <a:ext cx="7299325" cy="1112838"/>
            <a:chOff x="457200" y="5287962"/>
            <a:chExt cx="7299325" cy="1112838"/>
          </a:xfrm>
        </p:grpSpPr>
        <p:sp>
          <p:nvSpPr>
            <p:cNvPr id="84" name="Rounded Rectangle 83"/>
            <p:cNvSpPr/>
            <p:nvPr/>
          </p:nvSpPr>
          <p:spPr bwMode="auto">
            <a:xfrm rot="16200000" flipH="1">
              <a:off x="3567113" y="2178049"/>
              <a:ext cx="1079500" cy="7299325"/>
            </a:xfrm>
            <a:prstGeom prst="roundRect">
              <a:avLst>
                <a:gd name="adj" fmla="val 7869"/>
              </a:avLst>
            </a:prstGeom>
            <a:solidFill>
              <a:sysClr val="window" lastClr="FFFFFF"/>
            </a:solidFill>
            <a:ln w="6350" cap="flat" cmpd="sng" algn="ctr">
              <a:solidFill>
                <a:schemeClr val="bg2">
                  <a:lumMod val="75000"/>
                </a:schemeClr>
              </a:solidFill>
              <a:prstDash val="solid"/>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ＭＳ Ｐゴシック" charset="-128"/>
                <a:cs typeface="Arial" charset="0"/>
              </a:endParaRPr>
            </a:p>
          </p:txBody>
        </p:sp>
        <p:sp>
          <p:nvSpPr>
            <p:cNvPr id="86" name="Tekstboks 72"/>
            <p:cNvSpPr txBox="1">
              <a:spLocks noChangeArrowheads="1"/>
            </p:cNvSpPr>
            <p:nvPr/>
          </p:nvSpPr>
          <p:spPr bwMode="auto">
            <a:xfrm>
              <a:off x="603250" y="5662612"/>
              <a:ext cx="7016750" cy="738188"/>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Arial" charset="0"/>
                </a:rPr>
                <a:t>Here, describe a task or project that you handled using your willingness to work in a team, expertise, and proper coordination with all associated staff.</a:t>
              </a: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da-DK" sz="1400" b="0" i="0" u="none" strike="noStrike" kern="1200" cap="none" spc="0" normalizeH="0" baseline="0" noProof="0" dirty="0">
                <a:ln>
                  <a:noFill/>
                </a:ln>
                <a:solidFill>
                  <a:srgbClr val="000000"/>
                </a:solidFill>
                <a:effectLst/>
                <a:uLnTx/>
                <a:uFillTx/>
                <a:latin typeface="Calibri"/>
                <a:ea typeface="+mn-ea"/>
                <a:cs typeface="Arial" charset="0"/>
              </a:endParaRPr>
            </a:p>
          </p:txBody>
        </p:sp>
      </p:grpSp>
      <p:grpSp>
        <p:nvGrpSpPr>
          <p:cNvPr id="11" name="Group 10">
            <a:extLst>
              <a:ext uri="{FF2B5EF4-FFF2-40B4-BE49-F238E27FC236}">
                <a16:creationId xmlns:a16="http://schemas.microsoft.com/office/drawing/2014/main" id="{72C7589E-588D-4606-B4CD-17558B6F802A}"/>
              </a:ext>
            </a:extLst>
          </p:cNvPr>
          <p:cNvGrpSpPr/>
          <p:nvPr/>
        </p:nvGrpSpPr>
        <p:grpSpPr>
          <a:xfrm>
            <a:off x="457200" y="5224461"/>
            <a:ext cx="7315200" cy="314326"/>
            <a:chOff x="457200" y="5224461"/>
            <a:chExt cx="7315200" cy="314326"/>
          </a:xfrm>
        </p:grpSpPr>
        <p:sp>
          <p:nvSpPr>
            <p:cNvPr id="85" name="Round Same Side Corner Rectangle 84"/>
            <p:cNvSpPr/>
            <p:nvPr/>
          </p:nvSpPr>
          <p:spPr bwMode="auto">
            <a:xfrm>
              <a:off x="457200" y="5224462"/>
              <a:ext cx="7299325" cy="314325"/>
            </a:xfrm>
            <a:prstGeom prst="round2SameRect">
              <a:avLst>
                <a:gd name="adj1" fmla="val 27778"/>
                <a:gd name="adj2" fmla="val 0"/>
              </a:avLst>
            </a:prstGeom>
            <a:solidFill>
              <a:schemeClr val="bg2">
                <a:lumMod val="75000"/>
              </a:schemeClr>
            </a:solidFill>
            <a:ln w="9525" cap="flat" cmpd="sng" algn="ctr">
              <a:noFill/>
              <a:prstDash val="solid"/>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ＭＳ Ｐゴシック" charset="-128"/>
                <a:cs typeface="Arial" charset="0"/>
              </a:endParaRPr>
            </a:p>
          </p:txBody>
        </p:sp>
        <p:sp>
          <p:nvSpPr>
            <p:cNvPr id="29712" name="Rektangel 76"/>
            <p:cNvSpPr>
              <a:spLocks noChangeArrowheads="1"/>
            </p:cNvSpPr>
            <p:nvPr/>
          </p:nvSpPr>
          <p:spPr bwMode="auto">
            <a:xfrm>
              <a:off x="592138" y="5224461"/>
              <a:ext cx="7180262" cy="307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Calibri"/>
                  <a:ea typeface="+mn-ea"/>
                  <a:cs typeface="Arial" pitchFamily="34" charset="0"/>
                </a:rPr>
                <a:t>3. Describe the most difficult task / situation you had to go through and how you dealt with it?</a:t>
              </a:r>
            </a:p>
          </p:txBody>
        </p:sp>
      </p:grpSp>
      <p:grpSp>
        <p:nvGrpSpPr>
          <p:cNvPr id="7" name="Group 6">
            <a:extLst>
              <a:ext uri="{FF2B5EF4-FFF2-40B4-BE49-F238E27FC236}">
                <a16:creationId xmlns:a16="http://schemas.microsoft.com/office/drawing/2014/main" id="{3A5FE5F7-98F7-4BD0-A819-6344410F750A}"/>
              </a:ext>
            </a:extLst>
          </p:cNvPr>
          <p:cNvGrpSpPr/>
          <p:nvPr/>
        </p:nvGrpSpPr>
        <p:grpSpPr>
          <a:xfrm>
            <a:off x="457200" y="2514600"/>
            <a:ext cx="7275513" cy="307777"/>
            <a:chOff x="457200" y="2514600"/>
            <a:chExt cx="7275513" cy="307777"/>
          </a:xfrm>
        </p:grpSpPr>
        <p:sp>
          <p:nvSpPr>
            <p:cNvPr id="29" name="Round Same Side Corner Rectangle 28"/>
            <p:cNvSpPr/>
            <p:nvPr/>
          </p:nvSpPr>
          <p:spPr bwMode="auto">
            <a:xfrm>
              <a:off x="457200" y="2530475"/>
              <a:ext cx="7275513" cy="288925"/>
            </a:xfrm>
            <a:prstGeom prst="round2SameRect">
              <a:avLst>
                <a:gd name="adj1" fmla="val 27778"/>
                <a:gd name="adj2" fmla="val 0"/>
              </a:avLst>
            </a:prstGeom>
            <a:solidFill>
              <a:schemeClr val="accent1">
                <a:lumMod val="40000"/>
                <a:lumOff val="60000"/>
              </a:schemeClr>
            </a:solidFill>
            <a:ln w="9525" cap="flat" cmpd="sng" algn="ctr">
              <a:solidFill>
                <a:schemeClr val="bg2"/>
              </a:solidFill>
              <a:prstDash val="solid"/>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ＭＳ Ｐゴシック" charset="-128"/>
                <a:cs typeface="Arial" charset="0"/>
              </a:endParaRPr>
            </a:p>
          </p:txBody>
        </p:sp>
        <p:sp>
          <p:nvSpPr>
            <p:cNvPr id="30" name="Rektangel 76"/>
            <p:cNvSpPr>
              <a:spLocks noChangeArrowheads="1"/>
            </p:cNvSpPr>
            <p:nvPr/>
          </p:nvSpPr>
          <p:spPr bwMode="auto">
            <a:xfrm>
              <a:off x="592138" y="2514600"/>
              <a:ext cx="3370262" cy="307777"/>
            </a:xfrm>
            <a:prstGeom prst="rect">
              <a:avLst/>
            </a:prstGeom>
            <a:noFill/>
            <a:ln w="9525">
              <a:noFill/>
              <a:miter lim="800000"/>
              <a:headEnd/>
              <a:tailEnd/>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Calibri"/>
                  <a:ea typeface="+mn-ea"/>
                  <a:cs typeface="Arial" charset="0"/>
                </a:rPr>
                <a:t>1. Tell me about yourself</a:t>
              </a:r>
            </a:p>
          </p:txBody>
        </p:sp>
      </p:grpSp>
      <p:pic>
        <p:nvPicPr>
          <p:cNvPr id="32" name="Picture 31">
            <a:extLst>
              <a:ext uri="{FF2B5EF4-FFF2-40B4-BE49-F238E27FC236}">
                <a16:creationId xmlns:a16="http://schemas.microsoft.com/office/drawing/2014/main" id="{EE905059-C535-4619-B565-293AE28174B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17722" y="44624"/>
            <a:ext cx="1604791" cy="1479376"/>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p14:dur="10" advClick="0" advTm="49000"/>
    </mc:Choice>
    <mc:Fallback xmlns="">
      <p:transition advClick="0" advTm="49000"/>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2" presetClass="entr" presetSubtype="2" decel="5000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1000" fill="hold"/>
                                        <p:tgtEl>
                                          <p:spTgt spid="4"/>
                                        </p:tgtEl>
                                        <p:attrNameLst>
                                          <p:attrName>ppt_x</p:attrName>
                                        </p:attrNameLst>
                                      </p:cBhvr>
                                      <p:tavLst>
                                        <p:tav tm="0">
                                          <p:val>
                                            <p:strVal val="1+#ppt_w/2"/>
                                          </p:val>
                                        </p:tav>
                                        <p:tav tm="100000">
                                          <p:val>
                                            <p:strVal val="#ppt_x"/>
                                          </p:val>
                                        </p:tav>
                                      </p:tavLst>
                                    </p:anim>
                                    <p:anim calcmode="lin" valueType="num">
                                      <p:cBhvr additive="base">
                                        <p:cTn id="11" dur="1000" fill="hold"/>
                                        <p:tgtEl>
                                          <p:spTgt spid="4"/>
                                        </p:tgtEl>
                                        <p:attrNameLst>
                                          <p:attrName>ppt_y</p:attrName>
                                        </p:attrNameLst>
                                      </p:cBhvr>
                                      <p:tavLst>
                                        <p:tav tm="0">
                                          <p:val>
                                            <p:strVal val="#ppt_y"/>
                                          </p:val>
                                        </p:tav>
                                        <p:tav tm="100000">
                                          <p:val>
                                            <p:strVal val="#ppt_y"/>
                                          </p:val>
                                        </p:tav>
                                      </p:tavLst>
                                    </p:anim>
                                  </p:childTnLst>
                                </p:cTn>
                              </p:par>
                            </p:childTnLst>
                          </p:cTn>
                        </p:par>
                        <p:par>
                          <p:cTn id="12" fill="hold">
                            <p:stCondLst>
                              <p:cond delay="1000"/>
                            </p:stCondLst>
                            <p:childTnLst>
                              <p:par>
                                <p:cTn id="13" presetID="10" presetClass="entr" presetSubtype="0" fill="hold" nodeType="afterEffect">
                                  <p:stCondLst>
                                    <p:cond delay="1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1000"/>
                                        <p:tgtEl>
                                          <p:spTgt spid="8"/>
                                        </p:tgtEl>
                                      </p:cBhvr>
                                    </p:animEffect>
                                  </p:childTnLst>
                                </p:cTn>
                              </p:par>
                            </p:childTnLst>
                          </p:cTn>
                        </p:par>
                        <p:par>
                          <p:cTn id="16" fill="hold">
                            <p:stCondLst>
                              <p:cond delay="3000"/>
                            </p:stCondLst>
                            <p:childTnLst>
                              <p:par>
                                <p:cTn id="17" presetID="10" presetClass="entr" presetSubtype="0" fill="hold" nodeType="afterEffect">
                                  <p:stCondLst>
                                    <p:cond delay="95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childTnLst>
                                </p:cTn>
                              </p:par>
                            </p:childTnLst>
                          </p:cTn>
                        </p:par>
                        <p:par>
                          <p:cTn id="20" fill="hold">
                            <p:stCondLst>
                              <p:cond delay="13500"/>
                            </p:stCondLst>
                            <p:childTnLst>
                              <p:par>
                                <p:cTn id="21" presetID="10" presetClass="entr" presetSubtype="0" fill="hold" nodeType="afterEffect">
                                  <p:stCondLst>
                                    <p:cond delay="35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1000"/>
                                        <p:tgtEl>
                                          <p:spTgt spid="10"/>
                                        </p:tgtEl>
                                      </p:cBhvr>
                                    </p:animEffect>
                                  </p:childTnLst>
                                </p:cTn>
                              </p:par>
                              <p:par>
                                <p:cTn id="24" presetID="2" presetClass="entr" presetSubtype="2" decel="50000" fill="hold" nodeType="withEffect">
                                  <p:stCondLst>
                                    <p:cond delay="250"/>
                                  </p:stCondLst>
                                  <p:childTnLst>
                                    <p:set>
                                      <p:cBhvr>
                                        <p:cTn id="25" dur="1" fill="hold">
                                          <p:stCondLst>
                                            <p:cond delay="0"/>
                                          </p:stCondLst>
                                        </p:cTn>
                                        <p:tgtEl>
                                          <p:spTgt spid="3"/>
                                        </p:tgtEl>
                                        <p:attrNameLst>
                                          <p:attrName>style.visibility</p:attrName>
                                        </p:attrNameLst>
                                      </p:cBhvr>
                                      <p:to>
                                        <p:strVal val="visible"/>
                                      </p:to>
                                    </p:set>
                                    <p:anim calcmode="lin" valueType="num">
                                      <p:cBhvr additive="base">
                                        <p:cTn id="26" dur="1000" fill="hold"/>
                                        <p:tgtEl>
                                          <p:spTgt spid="3"/>
                                        </p:tgtEl>
                                        <p:attrNameLst>
                                          <p:attrName>ppt_x</p:attrName>
                                        </p:attrNameLst>
                                      </p:cBhvr>
                                      <p:tavLst>
                                        <p:tav tm="0">
                                          <p:val>
                                            <p:strVal val="1+#ppt_w/2"/>
                                          </p:val>
                                        </p:tav>
                                        <p:tav tm="100000">
                                          <p:val>
                                            <p:strVal val="#ppt_x"/>
                                          </p:val>
                                        </p:tav>
                                      </p:tavLst>
                                    </p:anim>
                                    <p:anim calcmode="lin" valueType="num">
                                      <p:cBhvr additive="base">
                                        <p:cTn id="27" dur="1000" fill="hold"/>
                                        <p:tgtEl>
                                          <p:spTgt spid="3"/>
                                        </p:tgtEl>
                                        <p:attrNameLst>
                                          <p:attrName>ppt_y</p:attrName>
                                        </p:attrNameLst>
                                      </p:cBhvr>
                                      <p:tavLst>
                                        <p:tav tm="0">
                                          <p:val>
                                            <p:strVal val="#ppt_y"/>
                                          </p:val>
                                        </p:tav>
                                        <p:tav tm="100000">
                                          <p:val>
                                            <p:strVal val="#ppt_y"/>
                                          </p:val>
                                        </p:tav>
                                      </p:tavLst>
                                    </p:anim>
                                  </p:childTnLst>
                                </p:cTn>
                              </p:par>
                            </p:childTnLst>
                          </p:cTn>
                        </p:par>
                        <p:par>
                          <p:cTn id="28" fill="hold">
                            <p:stCondLst>
                              <p:cond delay="18000"/>
                            </p:stCondLst>
                            <p:childTnLst>
                              <p:par>
                                <p:cTn id="29" presetID="10" presetClass="entr" presetSubtype="0" fill="hold" nodeType="afterEffect">
                                  <p:stCondLst>
                                    <p:cond delay="1400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1000"/>
                                        <p:tgtEl>
                                          <p:spTgt spid="11"/>
                                        </p:tgtEl>
                                      </p:cBhvr>
                                    </p:animEffect>
                                  </p:childTnLst>
                                </p:cTn>
                              </p:par>
                            </p:childTnLst>
                          </p:cTn>
                        </p:par>
                        <p:par>
                          <p:cTn id="32" fill="hold">
                            <p:stCondLst>
                              <p:cond delay="33000"/>
                            </p:stCondLst>
                            <p:childTnLst>
                              <p:par>
                                <p:cTn id="33" presetID="10" presetClass="entr" presetSubtype="0" fill="hold" nodeType="afterEffect">
                                  <p:stCondLst>
                                    <p:cond delay="400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25"/>
          <p:cNvSpPr>
            <a:spLocks/>
          </p:cNvSpPr>
          <p:nvPr/>
        </p:nvSpPr>
        <p:spPr bwMode="auto">
          <a:xfrm>
            <a:off x="6388100" y="3518528"/>
            <a:ext cx="1225550" cy="1133754"/>
          </a:xfrm>
          <a:custGeom>
            <a:avLst/>
            <a:gdLst>
              <a:gd name="T0" fmla="*/ 594 w 594"/>
              <a:gd name="T1" fmla="*/ 798 h 1022"/>
              <a:gd name="T2" fmla="*/ 594 w 594"/>
              <a:gd name="T3" fmla="*/ 788 h 1022"/>
              <a:gd name="T4" fmla="*/ 590 w 594"/>
              <a:gd name="T5" fmla="*/ 548 h 1022"/>
              <a:gd name="T6" fmla="*/ 548 w 594"/>
              <a:gd name="T7" fmla="*/ 544 h 1022"/>
              <a:gd name="T8" fmla="*/ 528 w 594"/>
              <a:gd name="T9" fmla="*/ 556 h 1022"/>
              <a:gd name="T10" fmla="*/ 476 w 594"/>
              <a:gd name="T11" fmla="*/ 586 h 1022"/>
              <a:gd name="T12" fmla="*/ 430 w 594"/>
              <a:gd name="T13" fmla="*/ 582 h 1022"/>
              <a:gd name="T14" fmla="*/ 382 w 594"/>
              <a:gd name="T15" fmla="*/ 536 h 1022"/>
              <a:gd name="T16" fmla="*/ 376 w 594"/>
              <a:gd name="T17" fmla="*/ 486 h 1022"/>
              <a:gd name="T18" fmla="*/ 414 w 594"/>
              <a:gd name="T19" fmla="*/ 434 h 1022"/>
              <a:gd name="T20" fmla="*/ 464 w 594"/>
              <a:gd name="T21" fmla="*/ 420 h 1022"/>
              <a:gd name="T22" fmla="*/ 512 w 594"/>
              <a:gd name="T23" fmla="*/ 438 h 1022"/>
              <a:gd name="T24" fmla="*/ 542 w 594"/>
              <a:gd name="T25" fmla="*/ 462 h 1022"/>
              <a:gd name="T26" fmla="*/ 588 w 594"/>
              <a:gd name="T27" fmla="*/ 462 h 1022"/>
              <a:gd name="T28" fmla="*/ 594 w 594"/>
              <a:gd name="T29" fmla="*/ 228 h 1022"/>
              <a:gd name="T30" fmla="*/ 592 w 594"/>
              <a:gd name="T31" fmla="*/ 220 h 1022"/>
              <a:gd name="T32" fmla="*/ 354 w 594"/>
              <a:gd name="T33" fmla="*/ 222 h 1022"/>
              <a:gd name="T34" fmla="*/ 346 w 594"/>
              <a:gd name="T35" fmla="*/ 216 h 1022"/>
              <a:gd name="T36" fmla="*/ 346 w 594"/>
              <a:gd name="T37" fmla="*/ 160 h 1022"/>
              <a:gd name="T38" fmla="*/ 370 w 594"/>
              <a:gd name="T39" fmla="*/ 130 h 1022"/>
              <a:gd name="T40" fmla="*/ 388 w 594"/>
              <a:gd name="T41" fmla="*/ 86 h 1022"/>
              <a:gd name="T42" fmla="*/ 374 w 594"/>
              <a:gd name="T43" fmla="*/ 38 h 1022"/>
              <a:gd name="T44" fmla="*/ 322 w 594"/>
              <a:gd name="T45" fmla="*/ 2 h 1022"/>
              <a:gd name="T46" fmla="*/ 272 w 594"/>
              <a:gd name="T47" fmla="*/ 8 h 1022"/>
              <a:gd name="T48" fmla="*/ 226 w 594"/>
              <a:gd name="T49" fmla="*/ 52 h 1022"/>
              <a:gd name="T50" fmla="*/ 222 w 594"/>
              <a:gd name="T51" fmla="*/ 98 h 1022"/>
              <a:gd name="T52" fmla="*/ 252 w 594"/>
              <a:gd name="T53" fmla="*/ 146 h 1022"/>
              <a:gd name="T54" fmla="*/ 264 w 594"/>
              <a:gd name="T55" fmla="*/ 166 h 1022"/>
              <a:gd name="T56" fmla="*/ 260 w 594"/>
              <a:gd name="T57" fmla="*/ 218 h 1022"/>
              <a:gd name="T58" fmla="*/ 8 w 594"/>
              <a:gd name="T59" fmla="*/ 222 h 1022"/>
              <a:gd name="T60" fmla="*/ 0 w 594"/>
              <a:gd name="T61" fmla="*/ 224 h 1022"/>
              <a:gd name="T62" fmla="*/ 0 w 594"/>
              <a:gd name="T63" fmla="*/ 470 h 1022"/>
              <a:gd name="T64" fmla="*/ 44 w 594"/>
              <a:gd name="T65" fmla="*/ 474 h 1022"/>
              <a:gd name="T66" fmla="*/ 58 w 594"/>
              <a:gd name="T67" fmla="*/ 468 h 1022"/>
              <a:gd name="T68" fmla="*/ 104 w 594"/>
              <a:gd name="T69" fmla="*/ 436 h 1022"/>
              <a:gd name="T70" fmla="*/ 146 w 594"/>
              <a:gd name="T71" fmla="*/ 432 h 1022"/>
              <a:gd name="T72" fmla="*/ 202 w 594"/>
              <a:gd name="T73" fmla="*/ 468 h 1022"/>
              <a:gd name="T74" fmla="*/ 218 w 594"/>
              <a:gd name="T75" fmla="*/ 516 h 1022"/>
              <a:gd name="T76" fmla="*/ 192 w 594"/>
              <a:gd name="T77" fmla="*/ 576 h 1022"/>
              <a:gd name="T78" fmla="*/ 128 w 594"/>
              <a:gd name="T79" fmla="*/ 600 h 1022"/>
              <a:gd name="T80" fmla="*/ 92 w 594"/>
              <a:gd name="T81" fmla="*/ 588 h 1022"/>
              <a:gd name="T82" fmla="*/ 58 w 594"/>
              <a:gd name="T83" fmla="*/ 562 h 1022"/>
              <a:gd name="T84" fmla="*/ 8 w 594"/>
              <a:gd name="T85" fmla="*/ 556 h 1022"/>
              <a:gd name="T86" fmla="*/ 0 w 594"/>
              <a:gd name="T87" fmla="*/ 564 h 1022"/>
              <a:gd name="T88" fmla="*/ 2 w 594"/>
              <a:gd name="T89" fmla="*/ 798 h 1022"/>
              <a:gd name="T90" fmla="*/ 256 w 594"/>
              <a:gd name="T91" fmla="*/ 802 h 1022"/>
              <a:gd name="T92" fmla="*/ 264 w 594"/>
              <a:gd name="T93" fmla="*/ 810 h 1022"/>
              <a:gd name="T94" fmla="*/ 258 w 594"/>
              <a:gd name="T95" fmla="*/ 870 h 1022"/>
              <a:gd name="T96" fmla="*/ 232 w 594"/>
              <a:gd name="T97" fmla="*/ 902 h 1022"/>
              <a:gd name="T98" fmla="*/ 220 w 594"/>
              <a:gd name="T99" fmla="*/ 938 h 1022"/>
              <a:gd name="T100" fmla="*/ 244 w 594"/>
              <a:gd name="T101" fmla="*/ 998 h 1022"/>
              <a:gd name="T102" fmla="*/ 304 w 594"/>
              <a:gd name="T103" fmla="*/ 1022 h 1022"/>
              <a:gd name="T104" fmla="*/ 352 w 594"/>
              <a:gd name="T105" fmla="*/ 1008 h 1022"/>
              <a:gd name="T106" fmla="*/ 388 w 594"/>
              <a:gd name="T107" fmla="*/ 954 h 1022"/>
              <a:gd name="T108" fmla="*/ 382 w 594"/>
              <a:gd name="T109" fmla="*/ 914 h 1022"/>
              <a:gd name="T110" fmla="*/ 352 w 594"/>
              <a:gd name="T111" fmla="*/ 870 h 1022"/>
              <a:gd name="T112" fmla="*/ 346 w 594"/>
              <a:gd name="T113" fmla="*/ 810 h 1022"/>
              <a:gd name="T114" fmla="*/ 350 w 594"/>
              <a:gd name="T115" fmla="*/ 802 h 1022"/>
              <a:gd name="T116" fmla="*/ 502 w 594"/>
              <a:gd name="T117" fmla="*/ 802 h 10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94"/>
              <a:gd name="T178" fmla="*/ 0 h 1022"/>
              <a:gd name="T179" fmla="*/ 594 w 594"/>
              <a:gd name="T180" fmla="*/ 1022 h 102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94" h="1022">
                <a:moveTo>
                  <a:pt x="586" y="800"/>
                </a:moveTo>
                <a:lnTo>
                  <a:pt x="586" y="800"/>
                </a:lnTo>
                <a:lnTo>
                  <a:pt x="592" y="800"/>
                </a:lnTo>
                <a:lnTo>
                  <a:pt x="594" y="798"/>
                </a:lnTo>
                <a:lnTo>
                  <a:pt x="594" y="796"/>
                </a:lnTo>
                <a:lnTo>
                  <a:pt x="594" y="788"/>
                </a:lnTo>
                <a:lnTo>
                  <a:pt x="594" y="552"/>
                </a:lnTo>
                <a:lnTo>
                  <a:pt x="592" y="550"/>
                </a:lnTo>
                <a:lnTo>
                  <a:pt x="590" y="548"/>
                </a:lnTo>
                <a:lnTo>
                  <a:pt x="588" y="546"/>
                </a:lnTo>
                <a:lnTo>
                  <a:pt x="586" y="544"/>
                </a:lnTo>
                <a:lnTo>
                  <a:pt x="548" y="544"/>
                </a:lnTo>
                <a:lnTo>
                  <a:pt x="542" y="546"/>
                </a:lnTo>
                <a:lnTo>
                  <a:pt x="536" y="550"/>
                </a:lnTo>
                <a:lnTo>
                  <a:pt x="528" y="556"/>
                </a:lnTo>
                <a:lnTo>
                  <a:pt x="512" y="570"/>
                </a:lnTo>
                <a:lnTo>
                  <a:pt x="502" y="576"/>
                </a:lnTo>
                <a:lnTo>
                  <a:pt x="490" y="582"/>
                </a:lnTo>
                <a:lnTo>
                  <a:pt x="476" y="586"/>
                </a:lnTo>
                <a:lnTo>
                  <a:pt x="464" y="588"/>
                </a:lnTo>
                <a:lnTo>
                  <a:pt x="446" y="586"/>
                </a:lnTo>
                <a:lnTo>
                  <a:pt x="430" y="582"/>
                </a:lnTo>
                <a:lnTo>
                  <a:pt x="414" y="574"/>
                </a:lnTo>
                <a:lnTo>
                  <a:pt x="402" y="564"/>
                </a:lnTo>
                <a:lnTo>
                  <a:pt x="390" y="552"/>
                </a:lnTo>
                <a:lnTo>
                  <a:pt x="382" y="536"/>
                </a:lnTo>
                <a:lnTo>
                  <a:pt x="376" y="520"/>
                </a:lnTo>
                <a:lnTo>
                  <a:pt x="374" y="504"/>
                </a:lnTo>
                <a:lnTo>
                  <a:pt x="376" y="486"/>
                </a:lnTo>
                <a:lnTo>
                  <a:pt x="382" y="470"/>
                </a:lnTo>
                <a:lnTo>
                  <a:pt x="390" y="456"/>
                </a:lnTo>
                <a:lnTo>
                  <a:pt x="402" y="444"/>
                </a:lnTo>
                <a:lnTo>
                  <a:pt x="414" y="434"/>
                </a:lnTo>
                <a:lnTo>
                  <a:pt x="430" y="426"/>
                </a:lnTo>
                <a:lnTo>
                  <a:pt x="446" y="420"/>
                </a:lnTo>
                <a:lnTo>
                  <a:pt x="464" y="420"/>
                </a:lnTo>
                <a:lnTo>
                  <a:pt x="476" y="420"/>
                </a:lnTo>
                <a:lnTo>
                  <a:pt x="490" y="426"/>
                </a:lnTo>
                <a:lnTo>
                  <a:pt x="502" y="432"/>
                </a:lnTo>
                <a:lnTo>
                  <a:pt x="512" y="438"/>
                </a:lnTo>
                <a:lnTo>
                  <a:pt x="528" y="452"/>
                </a:lnTo>
                <a:lnTo>
                  <a:pt x="536" y="458"/>
                </a:lnTo>
                <a:lnTo>
                  <a:pt x="542" y="462"/>
                </a:lnTo>
                <a:lnTo>
                  <a:pt x="548" y="462"/>
                </a:lnTo>
                <a:lnTo>
                  <a:pt x="586" y="462"/>
                </a:lnTo>
                <a:lnTo>
                  <a:pt x="588" y="462"/>
                </a:lnTo>
                <a:lnTo>
                  <a:pt x="590" y="460"/>
                </a:lnTo>
                <a:lnTo>
                  <a:pt x="592" y="458"/>
                </a:lnTo>
                <a:lnTo>
                  <a:pt x="594" y="454"/>
                </a:lnTo>
                <a:lnTo>
                  <a:pt x="594" y="228"/>
                </a:lnTo>
                <a:lnTo>
                  <a:pt x="592" y="224"/>
                </a:lnTo>
                <a:lnTo>
                  <a:pt x="592" y="220"/>
                </a:lnTo>
                <a:lnTo>
                  <a:pt x="590" y="222"/>
                </a:lnTo>
                <a:lnTo>
                  <a:pt x="582" y="222"/>
                </a:lnTo>
                <a:lnTo>
                  <a:pt x="354" y="222"/>
                </a:lnTo>
                <a:lnTo>
                  <a:pt x="350" y="220"/>
                </a:lnTo>
                <a:lnTo>
                  <a:pt x="348" y="218"/>
                </a:lnTo>
                <a:lnTo>
                  <a:pt x="346" y="216"/>
                </a:lnTo>
                <a:lnTo>
                  <a:pt x="346" y="214"/>
                </a:lnTo>
                <a:lnTo>
                  <a:pt x="346" y="166"/>
                </a:lnTo>
                <a:lnTo>
                  <a:pt x="346" y="160"/>
                </a:lnTo>
                <a:lnTo>
                  <a:pt x="352" y="152"/>
                </a:lnTo>
                <a:lnTo>
                  <a:pt x="356" y="146"/>
                </a:lnTo>
                <a:lnTo>
                  <a:pt x="370" y="130"/>
                </a:lnTo>
                <a:lnTo>
                  <a:pt x="376" y="120"/>
                </a:lnTo>
                <a:lnTo>
                  <a:pt x="382" y="110"/>
                </a:lnTo>
                <a:lnTo>
                  <a:pt x="388" y="98"/>
                </a:lnTo>
                <a:lnTo>
                  <a:pt x="388" y="86"/>
                </a:lnTo>
                <a:lnTo>
                  <a:pt x="388" y="68"/>
                </a:lnTo>
                <a:lnTo>
                  <a:pt x="382" y="52"/>
                </a:lnTo>
                <a:lnTo>
                  <a:pt x="374" y="38"/>
                </a:lnTo>
                <a:lnTo>
                  <a:pt x="364" y="26"/>
                </a:lnTo>
                <a:lnTo>
                  <a:pt x="352" y="14"/>
                </a:lnTo>
                <a:lnTo>
                  <a:pt x="338" y="8"/>
                </a:lnTo>
                <a:lnTo>
                  <a:pt x="322" y="2"/>
                </a:lnTo>
                <a:lnTo>
                  <a:pt x="304" y="0"/>
                </a:lnTo>
                <a:lnTo>
                  <a:pt x="288" y="2"/>
                </a:lnTo>
                <a:lnTo>
                  <a:pt x="272" y="8"/>
                </a:lnTo>
                <a:lnTo>
                  <a:pt x="256" y="14"/>
                </a:lnTo>
                <a:lnTo>
                  <a:pt x="244" y="26"/>
                </a:lnTo>
                <a:lnTo>
                  <a:pt x="234" y="38"/>
                </a:lnTo>
                <a:lnTo>
                  <a:pt x="226" y="52"/>
                </a:lnTo>
                <a:lnTo>
                  <a:pt x="222" y="68"/>
                </a:lnTo>
                <a:lnTo>
                  <a:pt x="220" y="86"/>
                </a:lnTo>
                <a:lnTo>
                  <a:pt x="222" y="98"/>
                </a:lnTo>
                <a:lnTo>
                  <a:pt x="226" y="110"/>
                </a:lnTo>
                <a:lnTo>
                  <a:pt x="232" y="120"/>
                </a:lnTo>
                <a:lnTo>
                  <a:pt x="238" y="130"/>
                </a:lnTo>
                <a:lnTo>
                  <a:pt x="252" y="146"/>
                </a:lnTo>
                <a:lnTo>
                  <a:pt x="258" y="152"/>
                </a:lnTo>
                <a:lnTo>
                  <a:pt x="262" y="160"/>
                </a:lnTo>
                <a:lnTo>
                  <a:pt x="264" y="166"/>
                </a:lnTo>
                <a:lnTo>
                  <a:pt x="264" y="214"/>
                </a:lnTo>
                <a:lnTo>
                  <a:pt x="262" y="216"/>
                </a:lnTo>
                <a:lnTo>
                  <a:pt x="260" y="218"/>
                </a:lnTo>
                <a:lnTo>
                  <a:pt x="258" y="220"/>
                </a:lnTo>
                <a:lnTo>
                  <a:pt x="256" y="222"/>
                </a:lnTo>
                <a:lnTo>
                  <a:pt x="8" y="222"/>
                </a:lnTo>
                <a:lnTo>
                  <a:pt x="0" y="222"/>
                </a:lnTo>
                <a:lnTo>
                  <a:pt x="0" y="224"/>
                </a:lnTo>
                <a:lnTo>
                  <a:pt x="0" y="232"/>
                </a:lnTo>
                <a:lnTo>
                  <a:pt x="0" y="466"/>
                </a:lnTo>
                <a:lnTo>
                  <a:pt x="0" y="470"/>
                </a:lnTo>
                <a:lnTo>
                  <a:pt x="2" y="472"/>
                </a:lnTo>
                <a:lnTo>
                  <a:pt x="4" y="474"/>
                </a:lnTo>
                <a:lnTo>
                  <a:pt x="8" y="474"/>
                </a:lnTo>
                <a:lnTo>
                  <a:pt x="44" y="474"/>
                </a:lnTo>
                <a:lnTo>
                  <a:pt x="52" y="472"/>
                </a:lnTo>
                <a:lnTo>
                  <a:pt x="58" y="468"/>
                </a:lnTo>
                <a:lnTo>
                  <a:pt x="64" y="462"/>
                </a:lnTo>
                <a:lnTo>
                  <a:pt x="80" y="450"/>
                </a:lnTo>
                <a:lnTo>
                  <a:pt x="92" y="442"/>
                </a:lnTo>
                <a:lnTo>
                  <a:pt x="104" y="436"/>
                </a:lnTo>
                <a:lnTo>
                  <a:pt x="116" y="432"/>
                </a:lnTo>
                <a:lnTo>
                  <a:pt x="128" y="430"/>
                </a:lnTo>
                <a:lnTo>
                  <a:pt x="146" y="432"/>
                </a:lnTo>
                <a:lnTo>
                  <a:pt x="164" y="438"/>
                </a:lnTo>
                <a:lnTo>
                  <a:pt x="178" y="446"/>
                </a:lnTo>
                <a:lnTo>
                  <a:pt x="192" y="456"/>
                </a:lnTo>
                <a:lnTo>
                  <a:pt x="202" y="468"/>
                </a:lnTo>
                <a:lnTo>
                  <a:pt x="210" y="482"/>
                </a:lnTo>
                <a:lnTo>
                  <a:pt x="216" y="498"/>
                </a:lnTo>
                <a:lnTo>
                  <a:pt x="218" y="516"/>
                </a:lnTo>
                <a:lnTo>
                  <a:pt x="216" y="532"/>
                </a:lnTo>
                <a:lnTo>
                  <a:pt x="210" y="548"/>
                </a:lnTo>
                <a:lnTo>
                  <a:pt x="202" y="562"/>
                </a:lnTo>
                <a:lnTo>
                  <a:pt x="192" y="576"/>
                </a:lnTo>
                <a:lnTo>
                  <a:pt x="178" y="586"/>
                </a:lnTo>
                <a:lnTo>
                  <a:pt x="164" y="594"/>
                </a:lnTo>
                <a:lnTo>
                  <a:pt x="146" y="598"/>
                </a:lnTo>
                <a:lnTo>
                  <a:pt x="128" y="600"/>
                </a:lnTo>
                <a:lnTo>
                  <a:pt x="116" y="598"/>
                </a:lnTo>
                <a:lnTo>
                  <a:pt x="104" y="594"/>
                </a:lnTo>
                <a:lnTo>
                  <a:pt x="92" y="588"/>
                </a:lnTo>
                <a:lnTo>
                  <a:pt x="80" y="582"/>
                </a:lnTo>
                <a:lnTo>
                  <a:pt x="64" y="568"/>
                </a:lnTo>
                <a:lnTo>
                  <a:pt x="58" y="562"/>
                </a:lnTo>
                <a:lnTo>
                  <a:pt x="52" y="558"/>
                </a:lnTo>
                <a:lnTo>
                  <a:pt x="44" y="556"/>
                </a:lnTo>
                <a:lnTo>
                  <a:pt x="8" y="556"/>
                </a:lnTo>
                <a:lnTo>
                  <a:pt x="4" y="558"/>
                </a:lnTo>
                <a:lnTo>
                  <a:pt x="2" y="560"/>
                </a:lnTo>
                <a:lnTo>
                  <a:pt x="0" y="562"/>
                </a:lnTo>
                <a:lnTo>
                  <a:pt x="0" y="564"/>
                </a:lnTo>
                <a:lnTo>
                  <a:pt x="0" y="794"/>
                </a:lnTo>
                <a:lnTo>
                  <a:pt x="0" y="796"/>
                </a:lnTo>
                <a:lnTo>
                  <a:pt x="2" y="798"/>
                </a:lnTo>
                <a:lnTo>
                  <a:pt x="4" y="800"/>
                </a:lnTo>
                <a:lnTo>
                  <a:pt x="8" y="802"/>
                </a:lnTo>
                <a:lnTo>
                  <a:pt x="256" y="802"/>
                </a:lnTo>
                <a:lnTo>
                  <a:pt x="258" y="802"/>
                </a:lnTo>
                <a:lnTo>
                  <a:pt x="260" y="804"/>
                </a:lnTo>
                <a:lnTo>
                  <a:pt x="262" y="806"/>
                </a:lnTo>
                <a:lnTo>
                  <a:pt x="264" y="810"/>
                </a:lnTo>
                <a:lnTo>
                  <a:pt x="264" y="856"/>
                </a:lnTo>
                <a:lnTo>
                  <a:pt x="262" y="864"/>
                </a:lnTo>
                <a:lnTo>
                  <a:pt x="258" y="870"/>
                </a:lnTo>
                <a:lnTo>
                  <a:pt x="252" y="876"/>
                </a:lnTo>
                <a:lnTo>
                  <a:pt x="238" y="892"/>
                </a:lnTo>
                <a:lnTo>
                  <a:pt x="232" y="902"/>
                </a:lnTo>
                <a:lnTo>
                  <a:pt x="226" y="914"/>
                </a:lnTo>
                <a:lnTo>
                  <a:pt x="222" y="926"/>
                </a:lnTo>
                <a:lnTo>
                  <a:pt x="220" y="938"/>
                </a:lnTo>
                <a:lnTo>
                  <a:pt x="222" y="954"/>
                </a:lnTo>
                <a:lnTo>
                  <a:pt x="226" y="970"/>
                </a:lnTo>
                <a:lnTo>
                  <a:pt x="234" y="984"/>
                </a:lnTo>
                <a:lnTo>
                  <a:pt x="244" y="998"/>
                </a:lnTo>
                <a:lnTo>
                  <a:pt x="256" y="1008"/>
                </a:lnTo>
                <a:lnTo>
                  <a:pt x="272" y="1016"/>
                </a:lnTo>
                <a:lnTo>
                  <a:pt x="288" y="1020"/>
                </a:lnTo>
                <a:lnTo>
                  <a:pt x="304" y="1022"/>
                </a:lnTo>
                <a:lnTo>
                  <a:pt x="322" y="1020"/>
                </a:lnTo>
                <a:lnTo>
                  <a:pt x="338" y="1016"/>
                </a:lnTo>
                <a:lnTo>
                  <a:pt x="352" y="1008"/>
                </a:lnTo>
                <a:lnTo>
                  <a:pt x="364" y="998"/>
                </a:lnTo>
                <a:lnTo>
                  <a:pt x="374" y="984"/>
                </a:lnTo>
                <a:lnTo>
                  <a:pt x="382" y="970"/>
                </a:lnTo>
                <a:lnTo>
                  <a:pt x="388" y="954"/>
                </a:lnTo>
                <a:lnTo>
                  <a:pt x="388" y="938"/>
                </a:lnTo>
                <a:lnTo>
                  <a:pt x="388" y="926"/>
                </a:lnTo>
                <a:lnTo>
                  <a:pt x="382" y="914"/>
                </a:lnTo>
                <a:lnTo>
                  <a:pt x="376" y="902"/>
                </a:lnTo>
                <a:lnTo>
                  <a:pt x="370" y="892"/>
                </a:lnTo>
                <a:lnTo>
                  <a:pt x="356" y="876"/>
                </a:lnTo>
                <a:lnTo>
                  <a:pt x="352" y="870"/>
                </a:lnTo>
                <a:lnTo>
                  <a:pt x="346" y="864"/>
                </a:lnTo>
                <a:lnTo>
                  <a:pt x="346" y="856"/>
                </a:lnTo>
                <a:lnTo>
                  <a:pt x="346" y="810"/>
                </a:lnTo>
                <a:lnTo>
                  <a:pt x="346" y="806"/>
                </a:lnTo>
                <a:lnTo>
                  <a:pt x="348" y="804"/>
                </a:lnTo>
                <a:lnTo>
                  <a:pt x="350" y="802"/>
                </a:lnTo>
                <a:lnTo>
                  <a:pt x="354" y="802"/>
                </a:lnTo>
                <a:lnTo>
                  <a:pt x="494" y="802"/>
                </a:lnTo>
                <a:lnTo>
                  <a:pt x="502" y="802"/>
                </a:lnTo>
                <a:lnTo>
                  <a:pt x="510" y="800"/>
                </a:lnTo>
                <a:lnTo>
                  <a:pt x="586" y="800"/>
                </a:lnTo>
                <a:close/>
              </a:path>
            </a:pathLst>
          </a:custGeom>
          <a:solidFill>
            <a:schemeClr val="bg1">
              <a:lumMod val="75000"/>
            </a:schemeClr>
          </a:solidFill>
          <a:ln w="19050">
            <a:noFill/>
            <a:round/>
            <a:headEnd/>
            <a:tailEnd/>
          </a:ln>
          <a:effectLst>
            <a:outerShdw blurRad="63500" dist="12700" dir="2700000" algn="tl" rotWithShape="0">
              <a:srgbClr val="000000">
                <a:alpha val="39999"/>
              </a:srgbClr>
            </a:outerShdw>
          </a:effectLst>
          <a:scene3d>
            <a:camera prst="orthographicFront">
              <a:rot lat="20520000" lon="0" rev="0"/>
            </a:camera>
            <a:lightRig rig="threePt" dir="t"/>
          </a:scene3d>
          <a:sp3d extrusionH="203200">
            <a:extrusionClr>
              <a:schemeClr val="tx1">
                <a:lumMod val="65000"/>
                <a:lumOff val="35000"/>
              </a:schemeClr>
            </a:extrusionClr>
          </a:sp3d>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D0D0D"/>
              </a:solidFill>
              <a:effectLst/>
              <a:uLnTx/>
              <a:uFillTx/>
              <a:latin typeface="Calibri" pitchFamily="-65" charset="0"/>
              <a:ea typeface="+mn-ea"/>
              <a:cs typeface="Arial" charset="0"/>
            </a:endParaRPr>
          </a:p>
        </p:txBody>
      </p:sp>
      <p:sp>
        <p:nvSpPr>
          <p:cNvPr id="21" name="Freeform 18"/>
          <p:cNvSpPr>
            <a:spLocks/>
          </p:cNvSpPr>
          <p:nvPr/>
        </p:nvSpPr>
        <p:spPr bwMode="auto">
          <a:xfrm>
            <a:off x="4571875" y="4516591"/>
            <a:ext cx="2165350" cy="632237"/>
          </a:xfrm>
          <a:custGeom>
            <a:avLst/>
            <a:gdLst>
              <a:gd name="T0" fmla="*/ 956 w 1056"/>
              <a:gd name="T1" fmla="*/ 212 h 594"/>
              <a:gd name="T2" fmla="*/ 920 w 1056"/>
              <a:gd name="T3" fmla="*/ 228 h 594"/>
              <a:gd name="T4" fmla="*/ 896 w 1056"/>
              <a:gd name="T5" fmla="*/ 248 h 594"/>
              <a:gd name="T6" fmla="*/ 838 w 1056"/>
              <a:gd name="T7" fmla="*/ 254 h 594"/>
              <a:gd name="T8" fmla="*/ 832 w 1056"/>
              <a:gd name="T9" fmla="*/ 250 h 594"/>
              <a:gd name="T10" fmla="*/ 830 w 1056"/>
              <a:gd name="T11" fmla="*/ 8 h 594"/>
              <a:gd name="T12" fmla="*/ 828 w 1056"/>
              <a:gd name="T13" fmla="*/ 2 h 594"/>
              <a:gd name="T14" fmla="*/ 594 w 1056"/>
              <a:gd name="T15" fmla="*/ 0 h 594"/>
              <a:gd name="T16" fmla="*/ 588 w 1056"/>
              <a:gd name="T17" fmla="*/ 2 h 594"/>
              <a:gd name="T18" fmla="*/ 586 w 1056"/>
              <a:gd name="T19" fmla="*/ 54 h 594"/>
              <a:gd name="T20" fmla="*/ 590 w 1056"/>
              <a:gd name="T21" fmla="*/ 68 h 594"/>
              <a:gd name="T22" fmla="*/ 610 w 1056"/>
              <a:gd name="T23" fmla="*/ 90 h 594"/>
              <a:gd name="T24" fmla="*/ 628 w 1056"/>
              <a:gd name="T25" fmla="*/ 124 h 594"/>
              <a:gd name="T26" fmla="*/ 626 w 1056"/>
              <a:gd name="T27" fmla="*/ 152 h 594"/>
              <a:gd name="T28" fmla="*/ 604 w 1056"/>
              <a:gd name="T29" fmla="*/ 196 h 594"/>
              <a:gd name="T30" fmla="*/ 562 w 1056"/>
              <a:gd name="T31" fmla="*/ 218 h 594"/>
              <a:gd name="T32" fmla="*/ 528 w 1056"/>
              <a:gd name="T33" fmla="*/ 218 h 594"/>
              <a:gd name="T34" fmla="*/ 484 w 1056"/>
              <a:gd name="T35" fmla="*/ 196 h 594"/>
              <a:gd name="T36" fmla="*/ 462 w 1056"/>
              <a:gd name="T37" fmla="*/ 152 h 594"/>
              <a:gd name="T38" fmla="*/ 462 w 1056"/>
              <a:gd name="T39" fmla="*/ 124 h 594"/>
              <a:gd name="T40" fmla="*/ 478 w 1056"/>
              <a:gd name="T41" fmla="*/ 90 h 594"/>
              <a:gd name="T42" fmla="*/ 498 w 1056"/>
              <a:gd name="T43" fmla="*/ 68 h 594"/>
              <a:gd name="T44" fmla="*/ 502 w 1056"/>
              <a:gd name="T45" fmla="*/ 8 h 594"/>
              <a:gd name="T46" fmla="*/ 500 w 1056"/>
              <a:gd name="T47" fmla="*/ 2 h 594"/>
              <a:gd name="T48" fmla="*/ 244 w 1056"/>
              <a:gd name="T49" fmla="*/ 0 h 594"/>
              <a:gd name="T50" fmla="*/ 238 w 1056"/>
              <a:gd name="T51" fmla="*/ 2 h 594"/>
              <a:gd name="T52" fmla="*/ 236 w 1056"/>
              <a:gd name="T53" fmla="*/ 248 h 594"/>
              <a:gd name="T54" fmla="*/ 232 w 1056"/>
              <a:gd name="T55" fmla="*/ 254 h 594"/>
              <a:gd name="T56" fmla="*/ 174 w 1056"/>
              <a:gd name="T57" fmla="*/ 256 h 594"/>
              <a:gd name="T58" fmla="*/ 160 w 1056"/>
              <a:gd name="T59" fmla="*/ 252 h 594"/>
              <a:gd name="T60" fmla="*/ 136 w 1056"/>
              <a:gd name="T61" fmla="*/ 232 h 594"/>
              <a:gd name="T62" fmla="*/ 102 w 1056"/>
              <a:gd name="T63" fmla="*/ 214 h 594"/>
              <a:gd name="T64" fmla="*/ 70 w 1056"/>
              <a:gd name="T65" fmla="*/ 214 h 594"/>
              <a:gd name="T66" fmla="*/ 26 w 1056"/>
              <a:gd name="T67" fmla="*/ 238 h 594"/>
              <a:gd name="T68" fmla="*/ 2 w 1056"/>
              <a:gd name="T69" fmla="*/ 280 h 594"/>
              <a:gd name="T70" fmla="*/ 2 w 1056"/>
              <a:gd name="T71" fmla="*/ 314 h 594"/>
              <a:gd name="T72" fmla="*/ 26 w 1056"/>
              <a:gd name="T73" fmla="*/ 358 h 594"/>
              <a:gd name="T74" fmla="*/ 70 w 1056"/>
              <a:gd name="T75" fmla="*/ 380 h 594"/>
              <a:gd name="T76" fmla="*/ 102 w 1056"/>
              <a:gd name="T77" fmla="*/ 380 h 594"/>
              <a:gd name="T78" fmla="*/ 136 w 1056"/>
              <a:gd name="T79" fmla="*/ 364 h 594"/>
              <a:gd name="T80" fmla="*/ 160 w 1056"/>
              <a:gd name="T81" fmla="*/ 344 h 594"/>
              <a:gd name="T82" fmla="*/ 228 w 1056"/>
              <a:gd name="T83" fmla="*/ 338 h 594"/>
              <a:gd name="T84" fmla="*/ 232 w 1056"/>
              <a:gd name="T85" fmla="*/ 342 h 594"/>
              <a:gd name="T86" fmla="*/ 236 w 1056"/>
              <a:gd name="T87" fmla="*/ 586 h 594"/>
              <a:gd name="T88" fmla="*/ 238 w 1056"/>
              <a:gd name="T89" fmla="*/ 592 h 594"/>
              <a:gd name="T90" fmla="*/ 822 w 1056"/>
              <a:gd name="T91" fmla="*/ 594 h 594"/>
              <a:gd name="T92" fmla="*/ 828 w 1056"/>
              <a:gd name="T93" fmla="*/ 592 h 594"/>
              <a:gd name="T94" fmla="*/ 830 w 1056"/>
              <a:gd name="T95" fmla="*/ 344 h 594"/>
              <a:gd name="T96" fmla="*/ 832 w 1056"/>
              <a:gd name="T97" fmla="*/ 338 h 594"/>
              <a:gd name="T98" fmla="*/ 882 w 1056"/>
              <a:gd name="T99" fmla="*/ 336 h 594"/>
              <a:gd name="T100" fmla="*/ 896 w 1056"/>
              <a:gd name="T101" fmla="*/ 340 h 594"/>
              <a:gd name="T102" fmla="*/ 920 w 1056"/>
              <a:gd name="T103" fmla="*/ 360 h 594"/>
              <a:gd name="T104" fmla="*/ 956 w 1056"/>
              <a:gd name="T105" fmla="*/ 378 h 594"/>
              <a:gd name="T106" fmla="*/ 986 w 1056"/>
              <a:gd name="T107" fmla="*/ 378 h 594"/>
              <a:gd name="T108" fmla="*/ 1030 w 1056"/>
              <a:gd name="T109" fmla="*/ 354 h 594"/>
              <a:gd name="T110" fmla="*/ 1054 w 1056"/>
              <a:gd name="T111" fmla="*/ 312 h 594"/>
              <a:gd name="T112" fmla="*/ 1054 w 1056"/>
              <a:gd name="T113" fmla="*/ 278 h 594"/>
              <a:gd name="T114" fmla="*/ 1030 w 1056"/>
              <a:gd name="T115" fmla="*/ 234 h 594"/>
              <a:gd name="T116" fmla="*/ 986 w 1056"/>
              <a:gd name="T117" fmla="*/ 212 h 59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6"/>
              <a:gd name="T178" fmla="*/ 0 h 594"/>
              <a:gd name="T179" fmla="*/ 1056 w 1056"/>
              <a:gd name="T180" fmla="*/ 594 h 59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6" h="594">
                <a:moveTo>
                  <a:pt x="968" y="210"/>
                </a:moveTo>
                <a:lnTo>
                  <a:pt x="968" y="210"/>
                </a:lnTo>
                <a:lnTo>
                  <a:pt x="956" y="212"/>
                </a:lnTo>
                <a:lnTo>
                  <a:pt x="942" y="216"/>
                </a:lnTo>
                <a:lnTo>
                  <a:pt x="930" y="222"/>
                </a:lnTo>
                <a:lnTo>
                  <a:pt x="920" y="228"/>
                </a:lnTo>
                <a:lnTo>
                  <a:pt x="902" y="242"/>
                </a:lnTo>
                <a:lnTo>
                  <a:pt x="896" y="248"/>
                </a:lnTo>
                <a:lnTo>
                  <a:pt x="890" y="252"/>
                </a:lnTo>
                <a:lnTo>
                  <a:pt x="882" y="254"/>
                </a:lnTo>
                <a:lnTo>
                  <a:pt x="838" y="254"/>
                </a:lnTo>
                <a:lnTo>
                  <a:pt x="834" y="252"/>
                </a:lnTo>
                <a:lnTo>
                  <a:pt x="832" y="250"/>
                </a:lnTo>
                <a:lnTo>
                  <a:pt x="830" y="248"/>
                </a:lnTo>
                <a:lnTo>
                  <a:pt x="830" y="246"/>
                </a:lnTo>
                <a:lnTo>
                  <a:pt x="830" y="8"/>
                </a:lnTo>
                <a:lnTo>
                  <a:pt x="828" y="4"/>
                </a:lnTo>
                <a:lnTo>
                  <a:pt x="828" y="2"/>
                </a:lnTo>
                <a:lnTo>
                  <a:pt x="824" y="0"/>
                </a:lnTo>
                <a:lnTo>
                  <a:pt x="822" y="0"/>
                </a:lnTo>
                <a:lnTo>
                  <a:pt x="594" y="0"/>
                </a:lnTo>
                <a:lnTo>
                  <a:pt x="590" y="0"/>
                </a:lnTo>
                <a:lnTo>
                  <a:pt x="588" y="2"/>
                </a:lnTo>
                <a:lnTo>
                  <a:pt x="586" y="4"/>
                </a:lnTo>
                <a:lnTo>
                  <a:pt x="586" y="8"/>
                </a:lnTo>
                <a:lnTo>
                  <a:pt x="586" y="54"/>
                </a:lnTo>
                <a:lnTo>
                  <a:pt x="586" y="62"/>
                </a:lnTo>
                <a:lnTo>
                  <a:pt x="590" y="68"/>
                </a:lnTo>
                <a:lnTo>
                  <a:pt x="596" y="74"/>
                </a:lnTo>
                <a:lnTo>
                  <a:pt x="610" y="90"/>
                </a:lnTo>
                <a:lnTo>
                  <a:pt x="616" y="100"/>
                </a:lnTo>
                <a:lnTo>
                  <a:pt x="622" y="112"/>
                </a:lnTo>
                <a:lnTo>
                  <a:pt x="628" y="124"/>
                </a:lnTo>
                <a:lnTo>
                  <a:pt x="628" y="136"/>
                </a:lnTo>
                <a:lnTo>
                  <a:pt x="626" y="152"/>
                </a:lnTo>
                <a:lnTo>
                  <a:pt x="622" y="168"/>
                </a:lnTo>
                <a:lnTo>
                  <a:pt x="614" y="184"/>
                </a:lnTo>
                <a:lnTo>
                  <a:pt x="604" y="196"/>
                </a:lnTo>
                <a:lnTo>
                  <a:pt x="592" y="206"/>
                </a:lnTo>
                <a:lnTo>
                  <a:pt x="576" y="214"/>
                </a:lnTo>
                <a:lnTo>
                  <a:pt x="562" y="218"/>
                </a:lnTo>
                <a:lnTo>
                  <a:pt x="544" y="220"/>
                </a:lnTo>
                <a:lnTo>
                  <a:pt x="528" y="218"/>
                </a:lnTo>
                <a:lnTo>
                  <a:pt x="512" y="214"/>
                </a:lnTo>
                <a:lnTo>
                  <a:pt x="496" y="206"/>
                </a:lnTo>
                <a:lnTo>
                  <a:pt x="484" y="196"/>
                </a:lnTo>
                <a:lnTo>
                  <a:pt x="474" y="184"/>
                </a:lnTo>
                <a:lnTo>
                  <a:pt x="466" y="168"/>
                </a:lnTo>
                <a:lnTo>
                  <a:pt x="462" y="152"/>
                </a:lnTo>
                <a:lnTo>
                  <a:pt x="460" y="136"/>
                </a:lnTo>
                <a:lnTo>
                  <a:pt x="462" y="124"/>
                </a:lnTo>
                <a:lnTo>
                  <a:pt x="466" y="112"/>
                </a:lnTo>
                <a:lnTo>
                  <a:pt x="472" y="100"/>
                </a:lnTo>
                <a:lnTo>
                  <a:pt x="478" y="90"/>
                </a:lnTo>
                <a:lnTo>
                  <a:pt x="492" y="74"/>
                </a:lnTo>
                <a:lnTo>
                  <a:pt x="498" y="68"/>
                </a:lnTo>
                <a:lnTo>
                  <a:pt x="502" y="62"/>
                </a:lnTo>
                <a:lnTo>
                  <a:pt x="502" y="54"/>
                </a:lnTo>
                <a:lnTo>
                  <a:pt x="502" y="8"/>
                </a:lnTo>
                <a:lnTo>
                  <a:pt x="502" y="4"/>
                </a:lnTo>
                <a:lnTo>
                  <a:pt x="500" y="2"/>
                </a:lnTo>
                <a:lnTo>
                  <a:pt x="498" y="0"/>
                </a:lnTo>
                <a:lnTo>
                  <a:pt x="494" y="0"/>
                </a:lnTo>
                <a:lnTo>
                  <a:pt x="244" y="0"/>
                </a:lnTo>
                <a:lnTo>
                  <a:pt x="240" y="0"/>
                </a:lnTo>
                <a:lnTo>
                  <a:pt x="238" y="2"/>
                </a:lnTo>
                <a:lnTo>
                  <a:pt x="236" y="4"/>
                </a:lnTo>
                <a:lnTo>
                  <a:pt x="236" y="8"/>
                </a:lnTo>
                <a:lnTo>
                  <a:pt x="236" y="248"/>
                </a:lnTo>
                <a:lnTo>
                  <a:pt x="234" y="252"/>
                </a:lnTo>
                <a:lnTo>
                  <a:pt x="232" y="254"/>
                </a:lnTo>
                <a:lnTo>
                  <a:pt x="230" y="256"/>
                </a:lnTo>
                <a:lnTo>
                  <a:pt x="228" y="256"/>
                </a:lnTo>
                <a:lnTo>
                  <a:pt x="174" y="256"/>
                </a:lnTo>
                <a:lnTo>
                  <a:pt x="166" y="256"/>
                </a:lnTo>
                <a:lnTo>
                  <a:pt x="160" y="252"/>
                </a:lnTo>
                <a:lnTo>
                  <a:pt x="154" y="246"/>
                </a:lnTo>
                <a:lnTo>
                  <a:pt x="136" y="232"/>
                </a:lnTo>
                <a:lnTo>
                  <a:pt x="126" y="226"/>
                </a:lnTo>
                <a:lnTo>
                  <a:pt x="114" y="220"/>
                </a:lnTo>
                <a:lnTo>
                  <a:pt x="102" y="214"/>
                </a:lnTo>
                <a:lnTo>
                  <a:pt x="88" y="214"/>
                </a:lnTo>
                <a:lnTo>
                  <a:pt x="70" y="214"/>
                </a:lnTo>
                <a:lnTo>
                  <a:pt x="54" y="220"/>
                </a:lnTo>
                <a:lnTo>
                  <a:pt x="40" y="228"/>
                </a:lnTo>
                <a:lnTo>
                  <a:pt x="26" y="238"/>
                </a:lnTo>
                <a:lnTo>
                  <a:pt x="16" y="250"/>
                </a:lnTo>
                <a:lnTo>
                  <a:pt x="6" y="264"/>
                </a:lnTo>
                <a:lnTo>
                  <a:pt x="2" y="280"/>
                </a:lnTo>
                <a:lnTo>
                  <a:pt x="0" y="298"/>
                </a:lnTo>
                <a:lnTo>
                  <a:pt x="2" y="314"/>
                </a:lnTo>
                <a:lnTo>
                  <a:pt x="6" y="330"/>
                </a:lnTo>
                <a:lnTo>
                  <a:pt x="16" y="346"/>
                </a:lnTo>
                <a:lnTo>
                  <a:pt x="26" y="358"/>
                </a:lnTo>
                <a:lnTo>
                  <a:pt x="40" y="368"/>
                </a:lnTo>
                <a:lnTo>
                  <a:pt x="54" y="376"/>
                </a:lnTo>
                <a:lnTo>
                  <a:pt x="70" y="380"/>
                </a:lnTo>
                <a:lnTo>
                  <a:pt x="88" y="382"/>
                </a:lnTo>
                <a:lnTo>
                  <a:pt x="102" y="380"/>
                </a:lnTo>
                <a:lnTo>
                  <a:pt x="114" y="376"/>
                </a:lnTo>
                <a:lnTo>
                  <a:pt x="126" y="370"/>
                </a:lnTo>
                <a:lnTo>
                  <a:pt x="136" y="364"/>
                </a:lnTo>
                <a:lnTo>
                  <a:pt x="154" y="350"/>
                </a:lnTo>
                <a:lnTo>
                  <a:pt x="160" y="344"/>
                </a:lnTo>
                <a:lnTo>
                  <a:pt x="166" y="340"/>
                </a:lnTo>
                <a:lnTo>
                  <a:pt x="174" y="338"/>
                </a:lnTo>
                <a:lnTo>
                  <a:pt x="228" y="338"/>
                </a:lnTo>
                <a:lnTo>
                  <a:pt x="230" y="340"/>
                </a:lnTo>
                <a:lnTo>
                  <a:pt x="232" y="342"/>
                </a:lnTo>
                <a:lnTo>
                  <a:pt x="234" y="344"/>
                </a:lnTo>
                <a:lnTo>
                  <a:pt x="236" y="346"/>
                </a:lnTo>
                <a:lnTo>
                  <a:pt x="236" y="586"/>
                </a:lnTo>
                <a:lnTo>
                  <a:pt x="236" y="590"/>
                </a:lnTo>
                <a:lnTo>
                  <a:pt x="238" y="592"/>
                </a:lnTo>
                <a:lnTo>
                  <a:pt x="240" y="594"/>
                </a:lnTo>
                <a:lnTo>
                  <a:pt x="244" y="594"/>
                </a:lnTo>
                <a:lnTo>
                  <a:pt x="822" y="594"/>
                </a:lnTo>
                <a:lnTo>
                  <a:pt x="824" y="594"/>
                </a:lnTo>
                <a:lnTo>
                  <a:pt x="828" y="592"/>
                </a:lnTo>
                <a:lnTo>
                  <a:pt x="828" y="590"/>
                </a:lnTo>
                <a:lnTo>
                  <a:pt x="830" y="586"/>
                </a:lnTo>
                <a:lnTo>
                  <a:pt x="830" y="344"/>
                </a:lnTo>
                <a:lnTo>
                  <a:pt x="830" y="340"/>
                </a:lnTo>
                <a:lnTo>
                  <a:pt x="832" y="338"/>
                </a:lnTo>
                <a:lnTo>
                  <a:pt x="834" y="336"/>
                </a:lnTo>
                <a:lnTo>
                  <a:pt x="838" y="336"/>
                </a:lnTo>
                <a:lnTo>
                  <a:pt x="882" y="336"/>
                </a:lnTo>
                <a:lnTo>
                  <a:pt x="890" y="338"/>
                </a:lnTo>
                <a:lnTo>
                  <a:pt x="896" y="340"/>
                </a:lnTo>
                <a:lnTo>
                  <a:pt x="902" y="346"/>
                </a:lnTo>
                <a:lnTo>
                  <a:pt x="920" y="360"/>
                </a:lnTo>
                <a:lnTo>
                  <a:pt x="930" y="366"/>
                </a:lnTo>
                <a:lnTo>
                  <a:pt x="942" y="372"/>
                </a:lnTo>
                <a:lnTo>
                  <a:pt x="956" y="378"/>
                </a:lnTo>
                <a:lnTo>
                  <a:pt x="968" y="378"/>
                </a:lnTo>
                <a:lnTo>
                  <a:pt x="986" y="378"/>
                </a:lnTo>
                <a:lnTo>
                  <a:pt x="1002" y="372"/>
                </a:lnTo>
                <a:lnTo>
                  <a:pt x="1018" y="364"/>
                </a:lnTo>
                <a:lnTo>
                  <a:pt x="1030" y="354"/>
                </a:lnTo>
                <a:lnTo>
                  <a:pt x="1042" y="342"/>
                </a:lnTo>
                <a:lnTo>
                  <a:pt x="1050" y="328"/>
                </a:lnTo>
                <a:lnTo>
                  <a:pt x="1054" y="312"/>
                </a:lnTo>
                <a:lnTo>
                  <a:pt x="1056" y="294"/>
                </a:lnTo>
                <a:lnTo>
                  <a:pt x="1054" y="278"/>
                </a:lnTo>
                <a:lnTo>
                  <a:pt x="1050" y="262"/>
                </a:lnTo>
                <a:lnTo>
                  <a:pt x="1042" y="246"/>
                </a:lnTo>
                <a:lnTo>
                  <a:pt x="1030" y="234"/>
                </a:lnTo>
                <a:lnTo>
                  <a:pt x="1018" y="224"/>
                </a:lnTo>
                <a:lnTo>
                  <a:pt x="1002" y="216"/>
                </a:lnTo>
                <a:lnTo>
                  <a:pt x="986" y="212"/>
                </a:lnTo>
                <a:lnTo>
                  <a:pt x="968" y="210"/>
                </a:lnTo>
                <a:close/>
              </a:path>
            </a:pathLst>
          </a:custGeom>
          <a:solidFill>
            <a:schemeClr val="bg1">
              <a:lumMod val="75000"/>
            </a:schemeClr>
          </a:solidFill>
          <a:ln w="3175">
            <a:noFill/>
            <a:round/>
            <a:headEnd/>
            <a:tailEnd/>
          </a:ln>
          <a:effectLst>
            <a:outerShdw blurRad="63500" dist="12700" dir="5700000" algn="t" rotWithShape="0">
              <a:srgbClr val="000000">
                <a:alpha val="39999"/>
              </a:srgbClr>
            </a:outerShdw>
          </a:effectLst>
          <a:scene3d>
            <a:camera prst="orthographicFront">
              <a:rot lat="20574000" lon="0" rev="0"/>
            </a:camera>
            <a:lightRig rig="threePt" dir="t"/>
          </a:scene3d>
          <a:sp3d extrusionH="203200">
            <a:extrusionClr>
              <a:schemeClr val="tx1">
                <a:lumMod val="65000"/>
                <a:lumOff val="35000"/>
              </a:schemeClr>
            </a:extrusionClr>
            <a:contourClr>
              <a:schemeClr val="tx1">
                <a:lumMod val="85000"/>
                <a:lumOff val="15000"/>
              </a:schemeClr>
            </a:contourClr>
          </a:sp3d>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Calibri" pitchFamily="-65" charset="0"/>
              <a:ea typeface="+mn-ea"/>
              <a:cs typeface="Arial" charset="0"/>
            </a:endParaRPr>
          </a:p>
        </p:txBody>
      </p:sp>
      <p:sp>
        <p:nvSpPr>
          <p:cNvPr id="22" name="Rektangel 20"/>
          <p:cNvSpPr>
            <a:spLocks noChangeArrowheads="1"/>
          </p:cNvSpPr>
          <p:nvPr/>
        </p:nvSpPr>
        <p:spPr bwMode="auto">
          <a:xfrm>
            <a:off x="681038" y="5707063"/>
            <a:ext cx="1300162"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801688" rtl="0" eaLnBrk="1" fontAlgn="base" latinLnBrk="0" hangingPunct="1">
              <a:lnSpc>
                <a:spcPct val="100000"/>
              </a:lnSpc>
              <a:spcBef>
                <a:spcPct val="20000"/>
              </a:spcBef>
              <a:spcAft>
                <a:spcPct val="0"/>
              </a:spcAft>
              <a:buClrTx/>
              <a:buSzTx/>
              <a:buFontTx/>
              <a:buNone/>
              <a:tabLst/>
              <a:defRPr/>
            </a:pPr>
            <a:r>
              <a:rPr kumimoji="0" lang="en-IN" sz="1600" b="1" i="0" u="none" strike="noStrike" kern="1200" cap="none" spc="0" normalizeH="0" baseline="0" noProof="1">
                <a:ln>
                  <a:noFill/>
                </a:ln>
                <a:solidFill>
                  <a:srgbClr val="080808"/>
                </a:solidFill>
                <a:effectLst/>
                <a:uLnTx/>
                <a:uFillTx/>
                <a:latin typeface="Calibri" pitchFamily="34" charset="0"/>
                <a:ea typeface="+mn-ea"/>
                <a:cs typeface="Arial" pitchFamily="34" charset="0"/>
              </a:rPr>
              <a:t>It’s not What You Say – It’s How You Say it! </a:t>
            </a:r>
            <a:endParaRPr kumimoji="0" lang="en-IN" sz="1600" b="0" i="0" u="none" strike="noStrike" kern="1200" cap="none" spc="0" normalizeH="0" baseline="0" noProof="1">
              <a:ln>
                <a:noFill/>
              </a:ln>
              <a:solidFill>
                <a:srgbClr val="080808"/>
              </a:solidFill>
              <a:effectLst/>
              <a:uLnTx/>
              <a:uFillTx/>
              <a:latin typeface="Calibri" pitchFamily="34" charset="0"/>
              <a:ea typeface="+mn-ea"/>
              <a:cs typeface="Arial" pitchFamily="34" charset="0"/>
            </a:endParaRPr>
          </a:p>
        </p:txBody>
      </p:sp>
      <p:grpSp>
        <p:nvGrpSpPr>
          <p:cNvPr id="2" name="Group 96"/>
          <p:cNvGrpSpPr>
            <a:grpSpLocks/>
          </p:cNvGrpSpPr>
          <p:nvPr/>
        </p:nvGrpSpPr>
        <p:grpSpPr bwMode="auto">
          <a:xfrm>
            <a:off x="3165475" y="4640263"/>
            <a:ext cx="1225550" cy="957262"/>
            <a:chOff x="4003675" y="2722790"/>
            <a:chExt cx="1225551" cy="956707"/>
          </a:xfrm>
        </p:grpSpPr>
        <p:sp>
          <p:nvSpPr>
            <p:cNvPr id="24" name="Freeform 23"/>
            <p:cNvSpPr>
              <a:spLocks noChangeArrowheads="1"/>
            </p:cNvSpPr>
            <p:nvPr/>
          </p:nvSpPr>
          <p:spPr bwMode="auto">
            <a:xfrm flipH="1">
              <a:off x="4679951" y="2819571"/>
              <a:ext cx="93663" cy="134860"/>
            </a:xfrm>
            <a:custGeom>
              <a:avLst/>
              <a:gdLst>
                <a:gd name="T0" fmla="*/ 0 w 93133"/>
                <a:gd name="T1" fmla="*/ 0 h 135467"/>
                <a:gd name="T2" fmla="*/ 0 w 93133"/>
                <a:gd name="T3" fmla="*/ 67734 h 135467"/>
                <a:gd name="T4" fmla="*/ 38100 w 93133"/>
                <a:gd name="T5" fmla="*/ 101600 h 135467"/>
                <a:gd name="T6" fmla="*/ 84667 w 93133"/>
                <a:gd name="T7" fmla="*/ 135467 h 135467"/>
                <a:gd name="T8" fmla="*/ 93133 w 93133"/>
                <a:gd name="T9" fmla="*/ 42334 h 135467"/>
                <a:gd name="T10" fmla="*/ 0 w 93133"/>
                <a:gd name="T11" fmla="*/ 0 h 135467"/>
                <a:gd name="T12" fmla="*/ 0 60000 65536"/>
                <a:gd name="T13" fmla="*/ 0 60000 65536"/>
                <a:gd name="T14" fmla="*/ 0 60000 65536"/>
                <a:gd name="T15" fmla="*/ 0 60000 65536"/>
                <a:gd name="T16" fmla="*/ 0 60000 65536"/>
                <a:gd name="T17" fmla="*/ 0 60000 65536"/>
                <a:gd name="T18" fmla="*/ 0 w 93133"/>
                <a:gd name="T19" fmla="*/ 0 h 135467"/>
                <a:gd name="T20" fmla="*/ 93133 w 93133"/>
                <a:gd name="T21" fmla="*/ 135467 h 135467"/>
              </a:gdLst>
              <a:ahLst/>
              <a:cxnLst>
                <a:cxn ang="T12">
                  <a:pos x="T0" y="T1"/>
                </a:cxn>
                <a:cxn ang="T13">
                  <a:pos x="T2" y="T3"/>
                </a:cxn>
                <a:cxn ang="T14">
                  <a:pos x="T4" y="T5"/>
                </a:cxn>
                <a:cxn ang="T15">
                  <a:pos x="T6" y="T7"/>
                </a:cxn>
                <a:cxn ang="T16">
                  <a:pos x="T8" y="T9"/>
                </a:cxn>
                <a:cxn ang="T17">
                  <a:pos x="T10" y="T11"/>
                </a:cxn>
              </a:cxnLst>
              <a:rect l="T18" t="T19" r="T20" b="T21"/>
              <a:pathLst>
                <a:path w="93133" h="135467">
                  <a:moveTo>
                    <a:pt x="0" y="0"/>
                  </a:moveTo>
                  <a:lnTo>
                    <a:pt x="0" y="67734"/>
                  </a:lnTo>
                  <a:lnTo>
                    <a:pt x="38100" y="101600"/>
                  </a:lnTo>
                  <a:lnTo>
                    <a:pt x="84667" y="135467"/>
                  </a:lnTo>
                  <a:lnTo>
                    <a:pt x="93133" y="42334"/>
                  </a:lnTo>
                  <a:lnTo>
                    <a:pt x="0" y="0"/>
                  </a:lnTo>
                  <a:close/>
                </a:path>
              </a:pathLst>
            </a:custGeom>
            <a:solidFill>
              <a:srgbClr val="7F7F7F"/>
            </a:solidFill>
            <a:ln w="9525">
              <a:solidFill>
                <a:srgbClr val="7F7F7F"/>
              </a:solidFill>
              <a:miter lim="800000"/>
              <a:headEnd/>
              <a:tailEnd/>
            </a:ln>
            <a:effectLst>
              <a:outerShdw blurRad="40000" dist="23000" dir="5400000" rotWithShape="0">
                <a:srgbClr val="808080">
                  <a:alpha val="34998"/>
                </a:srgbClr>
              </a:outerShdw>
            </a:effectLst>
          </p:spPr>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Arial" pitchFamily="34" charset="0"/>
                <a:ea typeface="ＭＳ Ｐゴシック" pitchFamily="34" charset="-128"/>
                <a:cs typeface="Arial" charset="0"/>
              </a:endParaRPr>
            </a:p>
          </p:txBody>
        </p:sp>
        <p:sp>
          <p:nvSpPr>
            <p:cNvPr id="25" name="Freeform 24"/>
            <p:cNvSpPr>
              <a:spLocks noChangeArrowheads="1"/>
            </p:cNvSpPr>
            <p:nvPr/>
          </p:nvSpPr>
          <p:spPr bwMode="auto">
            <a:xfrm>
              <a:off x="4438650" y="2819571"/>
              <a:ext cx="93663" cy="134860"/>
            </a:xfrm>
            <a:custGeom>
              <a:avLst/>
              <a:gdLst>
                <a:gd name="T0" fmla="*/ 0 w 93133"/>
                <a:gd name="T1" fmla="*/ 0 h 135467"/>
                <a:gd name="T2" fmla="*/ 0 w 93133"/>
                <a:gd name="T3" fmla="*/ 67734 h 135467"/>
                <a:gd name="T4" fmla="*/ 38100 w 93133"/>
                <a:gd name="T5" fmla="*/ 101600 h 135467"/>
                <a:gd name="T6" fmla="*/ 84667 w 93133"/>
                <a:gd name="T7" fmla="*/ 135467 h 135467"/>
                <a:gd name="T8" fmla="*/ 93133 w 93133"/>
                <a:gd name="T9" fmla="*/ 42334 h 135467"/>
                <a:gd name="T10" fmla="*/ 0 w 93133"/>
                <a:gd name="T11" fmla="*/ 0 h 135467"/>
                <a:gd name="T12" fmla="*/ 0 60000 65536"/>
                <a:gd name="T13" fmla="*/ 0 60000 65536"/>
                <a:gd name="T14" fmla="*/ 0 60000 65536"/>
                <a:gd name="T15" fmla="*/ 0 60000 65536"/>
                <a:gd name="T16" fmla="*/ 0 60000 65536"/>
                <a:gd name="T17" fmla="*/ 0 60000 65536"/>
                <a:gd name="T18" fmla="*/ 0 w 93133"/>
                <a:gd name="T19" fmla="*/ 0 h 135467"/>
                <a:gd name="T20" fmla="*/ 93133 w 93133"/>
                <a:gd name="T21" fmla="*/ 135467 h 135467"/>
              </a:gdLst>
              <a:ahLst/>
              <a:cxnLst>
                <a:cxn ang="T12">
                  <a:pos x="T0" y="T1"/>
                </a:cxn>
                <a:cxn ang="T13">
                  <a:pos x="T2" y="T3"/>
                </a:cxn>
                <a:cxn ang="T14">
                  <a:pos x="T4" y="T5"/>
                </a:cxn>
                <a:cxn ang="T15">
                  <a:pos x="T6" y="T7"/>
                </a:cxn>
                <a:cxn ang="T16">
                  <a:pos x="T8" y="T9"/>
                </a:cxn>
                <a:cxn ang="T17">
                  <a:pos x="T10" y="T11"/>
                </a:cxn>
              </a:cxnLst>
              <a:rect l="T18" t="T19" r="T20" b="T21"/>
              <a:pathLst>
                <a:path w="93133" h="135467">
                  <a:moveTo>
                    <a:pt x="0" y="0"/>
                  </a:moveTo>
                  <a:lnTo>
                    <a:pt x="0" y="67734"/>
                  </a:lnTo>
                  <a:lnTo>
                    <a:pt x="38100" y="101600"/>
                  </a:lnTo>
                  <a:lnTo>
                    <a:pt x="84667" y="135467"/>
                  </a:lnTo>
                  <a:lnTo>
                    <a:pt x="93133" y="42334"/>
                  </a:lnTo>
                  <a:lnTo>
                    <a:pt x="0" y="0"/>
                  </a:lnTo>
                  <a:close/>
                </a:path>
              </a:pathLst>
            </a:custGeom>
            <a:solidFill>
              <a:srgbClr val="7F7F7F"/>
            </a:solidFill>
            <a:ln w="9525">
              <a:solidFill>
                <a:srgbClr val="7F7F7F"/>
              </a:solidFill>
              <a:miter lim="800000"/>
              <a:headEnd/>
              <a:tailEnd/>
            </a:ln>
            <a:effectLst>
              <a:outerShdw blurRad="40000" dist="23000" dir="5400000" rotWithShape="0">
                <a:srgbClr val="808080">
                  <a:alpha val="34998"/>
                </a:srgbClr>
              </a:outerShdw>
            </a:effectLst>
          </p:spPr>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Arial" pitchFamily="34" charset="0"/>
                <a:ea typeface="ＭＳ Ｐゴシック" pitchFamily="34" charset="-128"/>
                <a:cs typeface="Arial" charset="0"/>
              </a:endParaRPr>
            </a:p>
          </p:txBody>
        </p:sp>
        <p:sp>
          <p:nvSpPr>
            <p:cNvPr id="26" name="Freeform 25"/>
            <p:cNvSpPr>
              <a:spLocks noChangeArrowheads="1"/>
            </p:cNvSpPr>
            <p:nvPr/>
          </p:nvSpPr>
          <p:spPr bwMode="auto">
            <a:xfrm>
              <a:off x="4695826" y="3152753"/>
              <a:ext cx="498475" cy="177697"/>
            </a:xfrm>
            <a:custGeom>
              <a:avLst/>
              <a:gdLst>
                <a:gd name="T0" fmla="*/ 498475 w 498475"/>
                <a:gd name="T1" fmla="*/ 79375 h 177800"/>
                <a:gd name="T2" fmla="*/ 498475 w 498475"/>
                <a:gd name="T3" fmla="*/ 152400 h 177800"/>
                <a:gd name="T4" fmla="*/ 384175 w 498475"/>
                <a:gd name="T5" fmla="*/ 152400 h 177800"/>
                <a:gd name="T6" fmla="*/ 346075 w 498475"/>
                <a:gd name="T7" fmla="*/ 133350 h 177800"/>
                <a:gd name="T8" fmla="*/ 320675 w 498475"/>
                <a:gd name="T9" fmla="*/ 123825 h 177800"/>
                <a:gd name="T10" fmla="*/ 273050 w 498475"/>
                <a:gd name="T11" fmla="*/ 107950 h 177800"/>
                <a:gd name="T12" fmla="*/ 219075 w 498475"/>
                <a:gd name="T13" fmla="*/ 101600 h 177800"/>
                <a:gd name="T14" fmla="*/ 177800 w 498475"/>
                <a:gd name="T15" fmla="*/ 107950 h 177800"/>
                <a:gd name="T16" fmla="*/ 146050 w 498475"/>
                <a:gd name="T17" fmla="*/ 117475 h 177800"/>
                <a:gd name="T18" fmla="*/ 107950 w 498475"/>
                <a:gd name="T19" fmla="*/ 146050 h 177800"/>
                <a:gd name="T20" fmla="*/ 79375 w 498475"/>
                <a:gd name="T21" fmla="*/ 177800 h 177800"/>
                <a:gd name="T22" fmla="*/ 0 w 498475"/>
                <a:gd name="T23" fmla="*/ 117475 h 177800"/>
                <a:gd name="T24" fmla="*/ 127000 w 498475"/>
                <a:gd name="T25" fmla="*/ 0 h 177800"/>
                <a:gd name="T26" fmla="*/ 361950 w 498475"/>
                <a:gd name="T27" fmla="*/ 25400 h 177800"/>
                <a:gd name="T28" fmla="*/ 498475 w 498475"/>
                <a:gd name="T29" fmla="*/ 79375 h 1778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8475"/>
                <a:gd name="T46" fmla="*/ 0 h 177800"/>
                <a:gd name="T47" fmla="*/ 498475 w 498475"/>
                <a:gd name="T48" fmla="*/ 177800 h 1778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8475" h="177800">
                  <a:moveTo>
                    <a:pt x="498475" y="79375"/>
                  </a:moveTo>
                  <a:lnTo>
                    <a:pt x="498475" y="152400"/>
                  </a:lnTo>
                  <a:lnTo>
                    <a:pt x="384175" y="152400"/>
                  </a:lnTo>
                  <a:lnTo>
                    <a:pt x="346075" y="133350"/>
                  </a:lnTo>
                  <a:lnTo>
                    <a:pt x="320675" y="123825"/>
                  </a:lnTo>
                  <a:lnTo>
                    <a:pt x="273050" y="107950"/>
                  </a:lnTo>
                  <a:lnTo>
                    <a:pt x="219075" y="101600"/>
                  </a:lnTo>
                  <a:lnTo>
                    <a:pt x="177800" y="107950"/>
                  </a:lnTo>
                  <a:lnTo>
                    <a:pt x="146050" y="117475"/>
                  </a:lnTo>
                  <a:lnTo>
                    <a:pt x="107950" y="146050"/>
                  </a:lnTo>
                  <a:lnTo>
                    <a:pt x="79375" y="177800"/>
                  </a:lnTo>
                  <a:lnTo>
                    <a:pt x="0" y="117475"/>
                  </a:lnTo>
                  <a:lnTo>
                    <a:pt x="127000" y="0"/>
                  </a:lnTo>
                  <a:lnTo>
                    <a:pt x="361950" y="25400"/>
                  </a:lnTo>
                  <a:lnTo>
                    <a:pt x="498475" y="79375"/>
                  </a:lnTo>
                  <a:close/>
                </a:path>
              </a:pathLst>
            </a:custGeom>
            <a:solidFill>
              <a:srgbClr val="7F7F7F"/>
            </a:solidFill>
            <a:ln>
              <a:noFill/>
            </a:ln>
            <a:effectLst>
              <a:outerShdw blurRad="40000" dist="23000" dir="5400000" rotWithShape="0">
                <a:srgbClr val="808080">
                  <a:alpha val="34998"/>
                </a:srgbClr>
              </a:outerShdw>
            </a:effectLst>
          </p:spPr>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Arial" pitchFamily="34" charset="0"/>
                <a:ea typeface="ＭＳ Ｐゴシック" pitchFamily="34" charset="-128"/>
                <a:cs typeface="Arial" charset="0"/>
              </a:endParaRPr>
            </a:p>
          </p:txBody>
        </p:sp>
        <p:sp>
          <p:nvSpPr>
            <p:cNvPr id="27" name="Freeform 23"/>
            <p:cNvSpPr>
              <a:spLocks/>
            </p:cNvSpPr>
            <p:nvPr/>
          </p:nvSpPr>
          <p:spPr bwMode="auto">
            <a:xfrm rot="16200000">
              <a:off x="4165862" y="2560603"/>
              <a:ext cx="901177" cy="1225551"/>
            </a:xfrm>
            <a:custGeom>
              <a:avLst/>
              <a:gdLst>
                <a:gd name="T0" fmla="*/ 712 w 812"/>
                <a:gd name="T1" fmla="*/ 210 h 594"/>
                <a:gd name="T2" fmla="*/ 676 w 812"/>
                <a:gd name="T3" fmla="*/ 226 h 594"/>
                <a:gd name="T4" fmla="*/ 652 w 812"/>
                <a:gd name="T5" fmla="*/ 246 h 594"/>
                <a:gd name="T6" fmla="*/ 602 w 812"/>
                <a:gd name="T7" fmla="*/ 250 h 594"/>
                <a:gd name="T8" fmla="*/ 596 w 812"/>
                <a:gd name="T9" fmla="*/ 248 h 594"/>
                <a:gd name="T10" fmla="*/ 594 w 812"/>
                <a:gd name="T11" fmla="*/ 8 h 594"/>
                <a:gd name="T12" fmla="*/ 592 w 812"/>
                <a:gd name="T13" fmla="*/ 2 h 594"/>
                <a:gd name="T14" fmla="*/ 346 w 812"/>
                <a:gd name="T15" fmla="*/ 0 h 594"/>
                <a:gd name="T16" fmla="*/ 340 w 812"/>
                <a:gd name="T17" fmla="*/ 2 h 594"/>
                <a:gd name="T18" fmla="*/ 338 w 812"/>
                <a:gd name="T19" fmla="*/ 46 h 594"/>
                <a:gd name="T20" fmla="*/ 344 w 812"/>
                <a:gd name="T21" fmla="*/ 58 h 594"/>
                <a:gd name="T22" fmla="*/ 364 w 812"/>
                <a:gd name="T23" fmla="*/ 80 h 594"/>
                <a:gd name="T24" fmla="*/ 380 w 812"/>
                <a:gd name="T25" fmla="*/ 114 h 594"/>
                <a:gd name="T26" fmla="*/ 380 w 812"/>
                <a:gd name="T27" fmla="*/ 144 h 594"/>
                <a:gd name="T28" fmla="*/ 358 w 812"/>
                <a:gd name="T29" fmla="*/ 186 h 594"/>
                <a:gd name="T30" fmla="*/ 314 w 812"/>
                <a:gd name="T31" fmla="*/ 210 h 594"/>
                <a:gd name="T32" fmla="*/ 280 w 812"/>
                <a:gd name="T33" fmla="*/ 210 h 594"/>
                <a:gd name="T34" fmla="*/ 238 w 812"/>
                <a:gd name="T35" fmla="*/ 186 h 594"/>
                <a:gd name="T36" fmla="*/ 214 w 812"/>
                <a:gd name="T37" fmla="*/ 144 h 594"/>
                <a:gd name="T38" fmla="*/ 214 w 812"/>
                <a:gd name="T39" fmla="*/ 114 h 594"/>
                <a:gd name="T40" fmla="*/ 232 w 812"/>
                <a:gd name="T41" fmla="*/ 80 h 594"/>
                <a:gd name="T42" fmla="*/ 250 w 812"/>
                <a:gd name="T43" fmla="*/ 58 h 594"/>
                <a:gd name="T44" fmla="*/ 256 w 812"/>
                <a:gd name="T45" fmla="*/ 8 h 594"/>
                <a:gd name="T46" fmla="*/ 254 w 812"/>
                <a:gd name="T47" fmla="*/ 2 h 594"/>
                <a:gd name="T48" fmla="*/ 8 w 812"/>
                <a:gd name="T49" fmla="*/ 0 h 594"/>
                <a:gd name="T50" fmla="*/ 2 w 812"/>
                <a:gd name="T51" fmla="*/ 2 h 594"/>
                <a:gd name="T52" fmla="*/ 0 w 812"/>
                <a:gd name="T53" fmla="*/ 586 h 594"/>
                <a:gd name="T54" fmla="*/ 0 w 812"/>
                <a:gd name="T55" fmla="*/ 594 h 594"/>
                <a:gd name="T56" fmla="*/ 2 w 812"/>
                <a:gd name="T57" fmla="*/ 584 h 594"/>
                <a:gd name="T58" fmla="*/ 8 w 812"/>
                <a:gd name="T59" fmla="*/ 578 h 594"/>
                <a:gd name="T60" fmla="*/ 252 w 812"/>
                <a:gd name="T61" fmla="*/ 578 h 594"/>
                <a:gd name="T62" fmla="*/ 256 w 812"/>
                <a:gd name="T63" fmla="*/ 570 h 594"/>
                <a:gd name="T64" fmla="*/ 256 w 812"/>
                <a:gd name="T65" fmla="*/ 526 h 594"/>
                <a:gd name="T66" fmla="*/ 246 w 812"/>
                <a:gd name="T67" fmla="*/ 512 h 594"/>
                <a:gd name="T68" fmla="*/ 220 w 812"/>
                <a:gd name="T69" fmla="*/ 474 h 594"/>
                <a:gd name="T70" fmla="*/ 214 w 812"/>
                <a:gd name="T71" fmla="*/ 450 h 594"/>
                <a:gd name="T72" fmla="*/ 228 w 812"/>
                <a:gd name="T73" fmla="*/ 404 h 594"/>
                <a:gd name="T74" fmla="*/ 264 w 812"/>
                <a:gd name="T75" fmla="*/ 372 h 594"/>
                <a:gd name="T76" fmla="*/ 298 w 812"/>
                <a:gd name="T77" fmla="*/ 366 h 594"/>
                <a:gd name="T78" fmla="*/ 346 w 812"/>
                <a:gd name="T79" fmla="*/ 380 h 594"/>
                <a:gd name="T80" fmla="*/ 376 w 812"/>
                <a:gd name="T81" fmla="*/ 418 h 594"/>
                <a:gd name="T82" fmla="*/ 382 w 812"/>
                <a:gd name="T83" fmla="*/ 450 h 594"/>
                <a:gd name="T84" fmla="*/ 370 w 812"/>
                <a:gd name="T85" fmla="*/ 486 h 594"/>
                <a:gd name="T86" fmla="*/ 344 w 812"/>
                <a:gd name="T87" fmla="*/ 518 h 594"/>
                <a:gd name="T88" fmla="*/ 338 w 812"/>
                <a:gd name="T89" fmla="*/ 532 h 594"/>
                <a:gd name="T90" fmla="*/ 340 w 812"/>
                <a:gd name="T91" fmla="*/ 574 h 594"/>
                <a:gd name="T92" fmla="*/ 346 w 812"/>
                <a:gd name="T93" fmla="*/ 578 h 594"/>
                <a:gd name="T94" fmla="*/ 590 w 812"/>
                <a:gd name="T95" fmla="*/ 578 h 594"/>
                <a:gd name="T96" fmla="*/ 594 w 812"/>
                <a:gd name="T97" fmla="*/ 570 h 594"/>
                <a:gd name="T98" fmla="*/ 596 w 812"/>
                <a:gd name="T99" fmla="*/ 338 h 594"/>
                <a:gd name="T100" fmla="*/ 602 w 812"/>
                <a:gd name="T101" fmla="*/ 334 h 594"/>
                <a:gd name="T102" fmla="*/ 646 w 812"/>
                <a:gd name="T103" fmla="*/ 334 h 594"/>
                <a:gd name="T104" fmla="*/ 660 w 812"/>
                <a:gd name="T105" fmla="*/ 344 h 594"/>
                <a:gd name="T106" fmla="*/ 698 w 812"/>
                <a:gd name="T107" fmla="*/ 370 h 594"/>
                <a:gd name="T108" fmla="*/ 724 w 812"/>
                <a:gd name="T109" fmla="*/ 376 h 594"/>
                <a:gd name="T110" fmla="*/ 774 w 812"/>
                <a:gd name="T111" fmla="*/ 362 h 594"/>
                <a:gd name="T112" fmla="*/ 806 w 812"/>
                <a:gd name="T113" fmla="*/ 324 h 594"/>
                <a:gd name="T114" fmla="*/ 812 w 812"/>
                <a:gd name="T115" fmla="*/ 292 h 594"/>
                <a:gd name="T116" fmla="*/ 798 w 812"/>
                <a:gd name="T117" fmla="*/ 244 h 594"/>
                <a:gd name="T118" fmla="*/ 758 w 812"/>
                <a:gd name="T119" fmla="*/ 214 h 594"/>
                <a:gd name="T120" fmla="*/ 724 w 812"/>
                <a:gd name="T121" fmla="*/ 208 h 59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12"/>
                <a:gd name="T184" fmla="*/ 0 h 594"/>
                <a:gd name="T185" fmla="*/ 812 w 812"/>
                <a:gd name="T186" fmla="*/ 594 h 59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12" h="594">
                  <a:moveTo>
                    <a:pt x="724" y="208"/>
                  </a:moveTo>
                  <a:lnTo>
                    <a:pt x="724" y="208"/>
                  </a:lnTo>
                  <a:lnTo>
                    <a:pt x="712" y="210"/>
                  </a:lnTo>
                  <a:lnTo>
                    <a:pt x="698" y="214"/>
                  </a:lnTo>
                  <a:lnTo>
                    <a:pt x="686" y="220"/>
                  </a:lnTo>
                  <a:lnTo>
                    <a:pt x="676" y="226"/>
                  </a:lnTo>
                  <a:lnTo>
                    <a:pt x="660" y="240"/>
                  </a:lnTo>
                  <a:lnTo>
                    <a:pt x="652" y="246"/>
                  </a:lnTo>
                  <a:lnTo>
                    <a:pt x="646" y="250"/>
                  </a:lnTo>
                  <a:lnTo>
                    <a:pt x="638" y="250"/>
                  </a:lnTo>
                  <a:lnTo>
                    <a:pt x="602" y="250"/>
                  </a:lnTo>
                  <a:lnTo>
                    <a:pt x="600" y="250"/>
                  </a:lnTo>
                  <a:lnTo>
                    <a:pt x="596" y="248"/>
                  </a:lnTo>
                  <a:lnTo>
                    <a:pt x="596" y="246"/>
                  </a:lnTo>
                  <a:lnTo>
                    <a:pt x="594" y="242"/>
                  </a:lnTo>
                  <a:lnTo>
                    <a:pt x="594" y="8"/>
                  </a:lnTo>
                  <a:lnTo>
                    <a:pt x="594" y="4"/>
                  </a:lnTo>
                  <a:lnTo>
                    <a:pt x="592" y="2"/>
                  </a:lnTo>
                  <a:lnTo>
                    <a:pt x="590" y="0"/>
                  </a:lnTo>
                  <a:lnTo>
                    <a:pt x="586" y="0"/>
                  </a:lnTo>
                  <a:lnTo>
                    <a:pt x="346" y="0"/>
                  </a:lnTo>
                  <a:lnTo>
                    <a:pt x="344" y="0"/>
                  </a:lnTo>
                  <a:lnTo>
                    <a:pt x="340" y="2"/>
                  </a:lnTo>
                  <a:lnTo>
                    <a:pt x="340" y="4"/>
                  </a:lnTo>
                  <a:lnTo>
                    <a:pt x="338" y="8"/>
                  </a:lnTo>
                  <a:lnTo>
                    <a:pt x="338" y="46"/>
                  </a:lnTo>
                  <a:lnTo>
                    <a:pt x="340" y="52"/>
                  </a:lnTo>
                  <a:lnTo>
                    <a:pt x="344" y="58"/>
                  </a:lnTo>
                  <a:lnTo>
                    <a:pt x="350" y="64"/>
                  </a:lnTo>
                  <a:lnTo>
                    <a:pt x="364" y="80"/>
                  </a:lnTo>
                  <a:lnTo>
                    <a:pt x="370" y="92"/>
                  </a:lnTo>
                  <a:lnTo>
                    <a:pt x="376" y="102"/>
                  </a:lnTo>
                  <a:lnTo>
                    <a:pt x="380" y="114"/>
                  </a:lnTo>
                  <a:lnTo>
                    <a:pt x="382" y="126"/>
                  </a:lnTo>
                  <a:lnTo>
                    <a:pt x="380" y="144"/>
                  </a:lnTo>
                  <a:lnTo>
                    <a:pt x="376" y="160"/>
                  </a:lnTo>
                  <a:lnTo>
                    <a:pt x="368" y="174"/>
                  </a:lnTo>
                  <a:lnTo>
                    <a:pt x="358" y="186"/>
                  </a:lnTo>
                  <a:lnTo>
                    <a:pt x="344" y="196"/>
                  </a:lnTo>
                  <a:lnTo>
                    <a:pt x="330" y="204"/>
                  </a:lnTo>
                  <a:lnTo>
                    <a:pt x="314" y="210"/>
                  </a:lnTo>
                  <a:lnTo>
                    <a:pt x="298" y="212"/>
                  </a:lnTo>
                  <a:lnTo>
                    <a:pt x="280" y="210"/>
                  </a:lnTo>
                  <a:lnTo>
                    <a:pt x="264" y="204"/>
                  </a:lnTo>
                  <a:lnTo>
                    <a:pt x="250" y="196"/>
                  </a:lnTo>
                  <a:lnTo>
                    <a:pt x="238" y="186"/>
                  </a:lnTo>
                  <a:lnTo>
                    <a:pt x="228" y="174"/>
                  </a:lnTo>
                  <a:lnTo>
                    <a:pt x="220" y="160"/>
                  </a:lnTo>
                  <a:lnTo>
                    <a:pt x="214" y="144"/>
                  </a:lnTo>
                  <a:lnTo>
                    <a:pt x="212" y="126"/>
                  </a:lnTo>
                  <a:lnTo>
                    <a:pt x="214" y="114"/>
                  </a:lnTo>
                  <a:lnTo>
                    <a:pt x="218" y="102"/>
                  </a:lnTo>
                  <a:lnTo>
                    <a:pt x="224" y="92"/>
                  </a:lnTo>
                  <a:lnTo>
                    <a:pt x="232" y="80"/>
                  </a:lnTo>
                  <a:lnTo>
                    <a:pt x="244" y="64"/>
                  </a:lnTo>
                  <a:lnTo>
                    <a:pt x="250" y="58"/>
                  </a:lnTo>
                  <a:lnTo>
                    <a:pt x="254" y="52"/>
                  </a:lnTo>
                  <a:lnTo>
                    <a:pt x="256" y="46"/>
                  </a:lnTo>
                  <a:lnTo>
                    <a:pt x="256" y="8"/>
                  </a:lnTo>
                  <a:lnTo>
                    <a:pt x="256" y="4"/>
                  </a:lnTo>
                  <a:lnTo>
                    <a:pt x="254" y="2"/>
                  </a:lnTo>
                  <a:lnTo>
                    <a:pt x="252" y="0"/>
                  </a:lnTo>
                  <a:lnTo>
                    <a:pt x="248" y="0"/>
                  </a:lnTo>
                  <a:lnTo>
                    <a:pt x="8" y="0"/>
                  </a:lnTo>
                  <a:lnTo>
                    <a:pt x="6" y="0"/>
                  </a:lnTo>
                  <a:lnTo>
                    <a:pt x="2" y="2"/>
                  </a:lnTo>
                  <a:lnTo>
                    <a:pt x="0" y="4"/>
                  </a:lnTo>
                  <a:lnTo>
                    <a:pt x="0" y="8"/>
                  </a:lnTo>
                  <a:lnTo>
                    <a:pt x="0" y="586"/>
                  </a:lnTo>
                  <a:lnTo>
                    <a:pt x="0" y="594"/>
                  </a:lnTo>
                  <a:lnTo>
                    <a:pt x="0" y="586"/>
                  </a:lnTo>
                  <a:lnTo>
                    <a:pt x="2" y="584"/>
                  </a:lnTo>
                  <a:lnTo>
                    <a:pt x="4" y="580"/>
                  </a:lnTo>
                  <a:lnTo>
                    <a:pt x="6" y="580"/>
                  </a:lnTo>
                  <a:lnTo>
                    <a:pt x="8" y="578"/>
                  </a:lnTo>
                  <a:lnTo>
                    <a:pt x="248" y="578"/>
                  </a:lnTo>
                  <a:lnTo>
                    <a:pt x="252" y="578"/>
                  </a:lnTo>
                  <a:lnTo>
                    <a:pt x="254" y="576"/>
                  </a:lnTo>
                  <a:lnTo>
                    <a:pt x="256" y="574"/>
                  </a:lnTo>
                  <a:lnTo>
                    <a:pt x="256" y="570"/>
                  </a:lnTo>
                  <a:lnTo>
                    <a:pt x="256" y="532"/>
                  </a:lnTo>
                  <a:lnTo>
                    <a:pt x="256" y="526"/>
                  </a:lnTo>
                  <a:lnTo>
                    <a:pt x="250" y="518"/>
                  </a:lnTo>
                  <a:lnTo>
                    <a:pt x="246" y="512"/>
                  </a:lnTo>
                  <a:lnTo>
                    <a:pt x="232" y="496"/>
                  </a:lnTo>
                  <a:lnTo>
                    <a:pt x="226" y="486"/>
                  </a:lnTo>
                  <a:lnTo>
                    <a:pt x="220" y="474"/>
                  </a:lnTo>
                  <a:lnTo>
                    <a:pt x="214" y="462"/>
                  </a:lnTo>
                  <a:lnTo>
                    <a:pt x="214" y="450"/>
                  </a:lnTo>
                  <a:lnTo>
                    <a:pt x="214" y="434"/>
                  </a:lnTo>
                  <a:lnTo>
                    <a:pt x="220" y="418"/>
                  </a:lnTo>
                  <a:lnTo>
                    <a:pt x="228" y="404"/>
                  </a:lnTo>
                  <a:lnTo>
                    <a:pt x="238" y="392"/>
                  </a:lnTo>
                  <a:lnTo>
                    <a:pt x="250" y="380"/>
                  </a:lnTo>
                  <a:lnTo>
                    <a:pt x="264" y="372"/>
                  </a:lnTo>
                  <a:lnTo>
                    <a:pt x="280" y="368"/>
                  </a:lnTo>
                  <a:lnTo>
                    <a:pt x="298" y="366"/>
                  </a:lnTo>
                  <a:lnTo>
                    <a:pt x="314" y="368"/>
                  </a:lnTo>
                  <a:lnTo>
                    <a:pt x="330" y="372"/>
                  </a:lnTo>
                  <a:lnTo>
                    <a:pt x="346" y="380"/>
                  </a:lnTo>
                  <a:lnTo>
                    <a:pt x="358" y="392"/>
                  </a:lnTo>
                  <a:lnTo>
                    <a:pt x="368" y="404"/>
                  </a:lnTo>
                  <a:lnTo>
                    <a:pt x="376" y="418"/>
                  </a:lnTo>
                  <a:lnTo>
                    <a:pt x="380" y="434"/>
                  </a:lnTo>
                  <a:lnTo>
                    <a:pt x="382" y="450"/>
                  </a:lnTo>
                  <a:lnTo>
                    <a:pt x="380" y="462"/>
                  </a:lnTo>
                  <a:lnTo>
                    <a:pt x="376" y="474"/>
                  </a:lnTo>
                  <a:lnTo>
                    <a:pt x="370" y="486"/>
                  </a:lnTo>
                  <a:lnTo>
                    <a:pt x="364" y="496"/>
                  </a:lnTo>
                  <a:lnTo>
                    <a:pt x="350" y="512"/>
                  </a:lnTo>
                  <a:lnTo>
                    <a:pt x="344" y="518"/>
                  </a:lnTo>
                  <a:lnTo>
                    <a:pt x="340" y="526"/>
                  </a:lnTo>
                  <a:lnTo>
                    <a:pt x="338" y="532"/>
                  </a:lnTo>
                  <a:lnTo>
                    <a:pt x="338" y="570"/>
                  </a:lnTo>
                  <a:lnTo>
                    <a:pt x="340" y="574"/>
                  </a:lnTo>
                  <a:lnTo>
                    <a:pt x="342" y="576"/>
                  </a:lnTo>
                  <a:lnTo>
                    <a:pt x="344" y="578"/>
                  </a:lnTo>
                  <a:lnTo>
                    <a:pt x="346" y="578"/>
                  </a:lnTo>
                  <a:lnTo>
                    <a:pt x="586" y="578"/>
                  </a:lnTo>
                  <a:lnTo>
                    <a:pt x="590" y="578"/>
                  </a:lnTo>
                  <a:lnTo>
                    <a:pt x="592" y="576"/>
                  </a:lnTo>
                  <a:lnTo>
                    <a:pt x="594" y="574"/>
                  </a:lnTo>
                  <a:lnTo>
                    <a:pt x="594" y="570"/>
                  </a:lnTo>
                  <a:lnTo>
                    <a:pt x="594" y="342"/>
                  </a:lnTo>
                  <a:lnTo>
                    <a:pt x="596" y="338"/>
                  </a:lnTo>
                  <a:lnTo>
                    <a:pt x="596" y="336"/>
                  </a:lnTo>
                  <a:lnTo>
                    <a:pt x="600" y="334"/>
                  </a:lnTo>
                  <a:lnTo>
                    <a:pt x="602" y="334"/>
                  </a:lnTo>
                  <a:lnTo>
                    <a:pt x="638" y="334"/>
                  </a:lnTo>
                  <a:lnTo>
                    <a:pt x="646" y="334"/>
                  </a:lnTo>
                  <a:lnTo>
                    <a:pt x="652" y="338"/>
                  </a:lnTo>
                  <a:lnTo>
                    <a:pt x="660" y="344"/>
                  </a:lnTo>
                  <a:lnTo>
                    <a:pt x="676" y="358"/>
                  </a:lnTo>
                  <a:lnTo>
                    <a:pt x="686" y="364"/>
                  </a:lnTo>
                  <a:lnTo>
                    <a:pt x="698" y="370"/>
                  </a:lnTo>
                  <a:lnTo>
                    <a:pt x="712" y="374"/>
                  </a:lnTo>
                  <a:lnTo>
                    <a:pt x="724" y="376"/>
                  </a:lnTo>
                  <a:lnTo>
                    <a:pt x="742" y="374"/>
                  </a:lnTo>
                  <a:lnTo>
                    <a:pt x="758" y="370"/>
                  </a:lnTo>
                  <a:lnTo>
                    <a:pt x="774" y="362"/>
                  </a:lnTo>
                  <a:lnTo>
                    <a:pt x="786" y="352"/>
                  </a:lnTo>
                  <a:lnTo>
                    <a:pt x="798" y="340"/>
                  </a:lnTo>
                  <a:lnTo>
                    <a:pt x="806" y="324"/>
                  </a:lnTo>
                  <a:lnTo>
                    <a:pt x="812" y="310"/>
                  </a:lnTo>
                  <a:lnTo>
                    <a:pt x="812" y="292"/>
                  </a:lnTo>
                  <a:lnTo>
                    <a:pt x="812" y="274"/>
                  </a:lnTo>
                  <a:lnTo>
                    <a:pt x="806" y="260"/>
                  </a:lnTo>
                  <a:lnTo>
                    <a:pt x="798" y="244"/>
                  </a:lnTo>
                  <a:lnTo>
                    <a:pt x="786" y="232"/>
                  </a:lnTo>
                  <a:lnTo>
                    <a:pt x="774" y="222"/>
                  </a:lnTo>
                  <a:lnTo>
                    <a:pt x="758" y="214"/>
                  </a:lnTo>
                  <a:lnTo>
                    <a:pt x="742" y="210"/>
                  </a:lnTo>
                  <a:lnTo>
                    <a:pt x="724" y="208"/>
                  </a:lnTo>
                  <a:close/>
                </a:path>
              </a:pathLst>
            </a:custGeom>
            <a:gradFill rotWithShape="1">
              <a:gsLst>
                <a:gs pos="0">
                  <a:schemeClr val="bg1">
                    <a:lumMod val="85000"/>
                  </a:schemeClr>
                </a:gs>
                <a:gs pos="100000">
                  <a:schemeClr val="bg1">
                    <a:lumMod val="95000"/>
                  </a:schemeClr>
                </a:gs>
              </a:gsLst>
              <a:lin ang="16200000"/>
            </a:gradFill>
            <a:ln w="9525">
              <a:noFill/>
              <a:miter lim="800000"/>
              <a:headEnd/>
              <a:tailEnd/>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Narrow" charset="0"/>
                <a:ea typeface="ＭＳ Ｐゴシック" charset="-128"/>
                <a:cs typeface="Arial" charset="0"/>
              </a:endParaRPr>
            </a:p>
          </p:txBody>
        </p:sp>
        <p:sp>
          <p:nvSpPr>
            <p:cNvPr id="28" name="Rectangle 27"/>
            <p:cNvSpPr>
              <a:spLocks noChangeArrowheads="1"/>
            </p:cNvSpPr>
            <p:nvPr/>
          </p:nvSpPr>
          <p:spPr bwMode="auto">
            <a:xfrm>
              <a:off x="4003675" y="3623967"/>
              <a:ext cx="1187451" cy="55530"/>
            </a:xfrm>
            <a:prstGeom prst="rect">
              <a:avLst/>
            </a:prstGeom>
            <a:solidFill>
              <a:srgbClr val="7F7F7F"/>
            </a:solidFill>
            <a:ln w="9525">
              <a:solidFill>
                <a:srgbClr val="7F7F7F"/>
              </a:solidFill>
              <a:miter lim="800000"/>
              <a:headEnd/>
              <a:tailEnd/>
            </a:ln>
            <a:effectLst>
              <a:outerShdw blurRad="40000" dist="23000" dir="5400000" rotWithShape="0">
                <a:srgbClr val="808080">
                  <a:alpha val="34998"/>
                </a:srgbClr>
              </a:outerShdw>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charset="0"/>
                <a:ea typeface="ＭＳ Ｐゴシック" charset="-128"/>
                <a:cs typeface="Arial" charset="0"/>
              </a:endParaRPr>
            </a:p>
          </p:txBody>
        </p:sp>
      </p:grpSp>
      <p:grpSp>
        <p:nvGrpSpPr>
          <p:cNvPr id="3" name="Group 99"/>
          <p:cNvGrpSpPr>
            <a:grpSpLocks/>
          </p:cNvGrpSpPr>
          <p:nvPr/>
        </p:nvGrpSpPr>
        <p:grpSpPr bwMode="auto">
          <a:xfrm>
            <a:off x="1449388" y="4879975"/>
            <a:ext cx="2179637" cy="717550"/>
            <a:chOff x="2287588" y="2962688"/>
            <a:chExt cx="2179637" cy="716809"/>
          </a:xfrm>
        </p:grpSpPr>
        <p:sp>
          <p:nvSpPr>
            <p:cNvPr id="30" name="Freeform 18"/>
            <p:cNvSpPr>
              <a:spLocks/>
            </p:cNvSpPr>
            <p:nvPr/>
          </p:nvSpPr>
          <p:spPr bwMode="auto">
            <a:xfrm>
              <a:off x="2287588" y="2962688"/>
              <a:ext cx="2179637" cy="659718"/>
            </a:xfrm>
            <a:custGeom>
              <a:avLst/>
              <a:gdLst>
                <a:gd name="T0" fmla="*/ 2147483647 w 1056"/>
                <a:gd name="T1" fmla="*/ 261504885 h 594"/>
                <a:gd name="T2" fmla="*/ 2147483647 w 1056"/>
                <a:gd name="T3" fmla="*/ 281240893 h 594"/>
                <a:gd name="T4" fmla="*/ 2147483647 w 1056"/>
                <a:gd name="T5" fmla="*/ 305911459 h 594"/>
                <a:gd name="T6" fmla="*/ 2147483647 w 1056"/>
                <a:gd name="T7" fmla="*/ 313312739 h 594"/>
                <a:gd name="T8" fmla="*/ 2147483647 w 1056"/>
                <a:gd name="T9" fmla="*/ 308378182 h 594"/>
                <a:gd name="T10" fmla="*/ 2147483647 w 1056"/>
                <a:gd name="T11" fmla="*/ 9868004 h 594"/>
                <a:gd name="T12" fmla="*/ 2147483647 w 1056"/>
                <a:gd name="T13" fmla="*/ 2466723 h 594"/>
                <a:gd name="T14" fmla="*/ 2147483647 w 1056"/>
                <a:gd name="T15" fmla="*/ 0 h 594"/>
                <a:gd name="T16" fmla="*/ 2147483647 w 1056"/>
                <a:gd name="T17" fmla="*/ 2466723 h 594"/>
                <a:gd name="T18" fmla="*/ 2147483647 w 1056"/>
                <a:gd name="T19" fmla="*/ 66609305 h 594"/>
                <a:gd name="T20" fmla="*/ 2147483647 w 1056"/>
                <a:gd name="T21" fmla="*/ 83878590 h 594"/>
                <a:gd name="T22" fmla="*/ 2147483647 w 1056"/>
                <a:gd name="T23" fmla="*/ 111015879 h 594"/>
                <a:gd name="T24" fmla="*/ 2147483647 w 1056"/>
                <a:gd name="T25" fmla="*/ 152955729 h 594"/>
                <a:gd name="T26" fmla="*/ 2147483647 w 1056"/>
                <a:gd name="T27" fmla="*/ 187494299 h 594"/>
                <a:gd name="T28" fmla="*/ 2147483647 w 1056"/>
                <a:gd name="T29" fmla="*/ 241768877 h 594"/>
                <a:gd name="T30" fmla="*/ 2147483647 w 1056"/>
                <a:gd name="T31" fmla="*/ 268906166 h 594"/>
                <a:gd name="T32" fmla="*/ 2147483647 w 1056"/>
                <a:gd name="T33" fmla="*/ 268906166 h 594"/>
                <a:gd name="T34" fmla="*/ 2061986139 w 1056"/>
                <a:gd name="T35" fmla="*/ 241768877 h 594"/>
                <a:gd name="T36" fmla="*/ 1968259684 w 1056"/>
                <a:gd name="T37" fmla="*/ 187494299 h 594"/>
                <a:gd name="T38" fmla="*/ 1968259684 w 1056"/>
                <a:gd name="T39" fmla="*/ 152955729 h 594"/>
                <a:gd name="T40" fmla="*/ 2036424942 w 1056"/>
                <a:gd name="T41" fmla="*/ 111015879 h 594"/>
                <a:gd name="T42" fmla="*/ 2121630998 w 1056"/>
                <a:gd name="T43" fmla="*/ 83878590 h 594"/>
                <a:gd name="T44" fmla="*/ 2138671796 w 1056"/>
                <a:gd name="T45" fmla="*/ 9868004 h 594"/>
                <a:gd name="T46" fmla="*/ 2130151397 w 1056"/>
                <a:gd name="T47" fmla="*/ 2466723 h 594"/>
                <a:gd name="T48" fmla="*/ 1039513469 w 1056"/>
                <a:gd name="T49" fmla="*/ 0 h 594"/>
                <a:gd name="T50" fmla="*/ 1013952271 w 1056"/>
                <a:gd name="T51" fmla="*/ 2466723 h 594"/>
                <a:gd name="T52" fmla="*/ 1005431872 w 1056"/>
                <a:gd name="T53" fmla="*/ 305911459 h 594"/>
                <a:gd name="T54" fmla="*/ 988391074 w 1056"/>
                <a:gd name="T55" fmla="*/ 313312739 h 594"/>
                <a:gd name="T56" fmla="*/ 741293305 w 1056"/>
                <a:gd name="T57" fmla="*/ 315779463 h 594"/>
                <a:gd name="T58" fmla="*/ 681648447 w 1056"/>
                <a:gd name="T59" fmla="*/ 310844905 h 594"/>
                <a:gd name="T60" fmla="*/ 579401593 w 1056"/>
                <a:gd name="T61" fmla="*/ 286175451 h 594"/>
                <a:gd name="T62" fmla="*/ 434550679 w 1056"/>
                <a:gd name="T63" fmla="*/ 263971608 h 594"/>
                <a:gd name="T64" fmla="*/ 298222228 w 1056"/>
                <a:gd name="T65" fmla="*/ 263971608 h 594"/>
                <a:gd name="T66" fmla="*/ 110767253 w 1056"/>
                <a:gd name="T67" fmla="*/ 293575621 h 594"/>
                <a:gd name="T68" fmla="*/ 8520399 w 1056"/>
                <a:gd name="T69" fmla="*/ 345383475 h 594"/>
                <a:gd name="T70" fmla="*/ 8520399 w 1056"/>
                <a:gd name="T71" fmla="*/ 387323325 h 594"/>
                <a:gd name="T72" fmla="*/ 110767253 w 1056"/>
                <a:gd name="T73" fmla="*/ 441597903 h 594"/>
                <a:gd name="T74" fmla="*/ 298222228 w 1056"/>
                <a:gd name="T75" fmla="*/ 468735192 h 594"/>
                <a:gd name="T76" fmla="*/ 434550679 w 1056"/>
                <a:gd name="T77" fmla="*/ 468735192 h 594"/>
                <a:gd name="T78" fmla="*/ 579401593 w 1056"/>
                <a:gd name="T79" fmla="*/ 448999184 h 594"/>
                <a:gd name="T80" fmla="*/ 681648447 w 1056"/>
                <a:gd name="T81" fmla="*/ 424328618 h 594"/>
                <a:gd name="T82" fmla="*/ 971348211 w 1056"/>
                <a:gd name="T83" fmla="*/ 416927338 h 594"/>
                <a:gd name="T84" fmla="*/ 988391074 w 1056"/>
                <a:gd name="T85" fmla="*/ 421861895 h 594"/>
                <a:gd name="T86" fmla="*/ 1005431872 w 1056"/>
                <a:gd name="T87" fmla="*/ 722838796 h 594"/>
                <a:gd name="T88" fmla="*/ 1013952271 w 1056"/>
                <a:gd name="T89" fmla="*/ 730240077 h 594"/>
                <a:gd name="T90" fmla="*/ 2147483647 w 1056"/>
                <a:gd name="T91" fmla="*/ 732706801 h 594"/>
                <a:gd name="T92" fmla="*/ 2147483647 w 1056"/>
                <a:gd name="T93" fmla="*/ 730240077 h 594"/>
                <a:gd name="T94" fmla="*/ 2147483647 w 1056"/>
                <a:gd name="T95" fmla="*/ 424328618 h 594"/>
                <a:gd name="T96" fmla="*/ 2147483647 w 1056"/>
                <a:gd name="T97" fmla="*/ 416927338 h 594"/>
                <a:gd name="T98" fmla="*/ 2147483647 w 1056"/>
                <a:gd name="T99" fmla="*/ 414460614 h 594"/>
                <a:gd name="T100" fmla="*/ 2147483647 w 1056"/>
                <a:gd name="T101" fmla="*/ 419394061 h 594"/>
                <a:gd name="T102" fmla="*/ 2147483647 w 1056"/>
                <a:gd name="T103" fmla="*/ 444064627 h 594"/>
                <a:gd name="T104" fmla="*/ 2147483647 w 1056"/>
                <a:gd name="T105" fmla="*/ 466268469 h 594"/>
                <a:gd name="T106" fmla="*/ 2147483647 w 1056"/>
                <a:gd name="T107" fmla="*/ 466268469 h 594"/>
                <a:gd name="T108" fmla="*/ 2147483647 w 1056"/>
                <a:gd name="T109" fmla="*/ 436663346 h 594"/>
                <a:gd name="T110" fmla="*/ 2147483647 w 1056"/>
                <a:gd name="T111" fmla="*/ 384856602 h 594"/>
                <a:gd name="T112" fmla="*/ 2147483647 w 1056"/>
                <a:gd name="T113" fmla="*/ 342916752 h 594"/>
                <a:gd name="T114" fmla="*/ 2147483647 w 1056"/>
                <a:gd name="T115" fmla="*/ 288642174 h 594"/>
                <a:gd name="T116" fmla="*/ 2147483647 w 1056"/>
                <a:gd name="T117" fmla="*/ 261504885 h 59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6"/>
                <a:gd name="T178" fmla="*/ 0 h 594"/>
                <a:gd name="T179" fmla="*/ 1056 w 1056"/>
                <a:gd name="T180" fmla="*/ 594 h 59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6" h="594">
                  <a:moveTo>
                    <a:pt x="968" y="210"/>
                  </a:moveTo>
                  <a:lnTo>
                    <a:pt x="968" y="210"/>
                  </a:lnTo>
                  <a:lnTo>
                    <a:pt x="956" y="212"/>
                  </a:lnTo>
                  <a:lnTo>
                    <a:pt x="942" y="216"/>
                  </a:lnTo>
                  <a:lnTo>
                    <a:pt x="930" y="222"/>
                  </a:lnTo>
                  <a:lnTo>
                    <a:pt x="920" y="228"/>
                  </a:lnTo>
                  <a:lnTo>
                    <a:pt x="902" y="242"/>
                  </a:lnTo>
                  <a:lnTo>
                    <a:pt x="896" y="248"/>
                  </a:lnTo>
                  <a:lnTo>
                    <a:pt x="890" y="252"/>
                  </a:lnTo>
                  <a:lnTo>
                    <a:pt x="882" y="254"/>
                  </a:lnTo>
                  <a:lnTo>
                    <a:pt x="838" y="254"/>
                  </a:lnTo>
                  <a:lnTo>
                    <a:pt x="834" y="252"/>
                  </a:lnTo>
                  <a:lnTo>
                    <a:pt x="832" y="250"/>
                  </a:lnTo>
                  <a:lnTo>
                    <a:pt x="830" y="248"/>
                  </a:lnTo>
                  <a:lnTo>
                    <a:pt x="830" y="246"/>
                  </a:lnTo>
                  <a:lnTo>
                    <a:pt x="830" y="8"/>
                  </a:lnTo>
                  <a:lnTo>
                    <a:pt x="828" y="4"/>
                  </a:lnTo>
                  <a:lnTo>
                    <a:pt x="828" y="2"/>
                  </a:lnTo>
                  <a:lnTo>
                    <a:pt x="824" y="0"/>
                  </a:lnTo>
                  <a:lnTo>
                    <a:pt x="822" y="0"/>
                  </a:lnTo>
                  <a:lnTo>
                    <a:pt x="594" y="0"/>
                  </a:lnTo>
                  <a:lnTo>
                    <a:pt x="590" y="0"/>
                  </a:lnTo>
                  <a:lnTo>
                    <a:pt x="588" y="2"/>
                  </a:lnTo>
                  <a:lnTo>
                    <a:pt x="586" y="4"/>
                  </a:lnTo>
                  <a:lnTo>
                    <a:pt x="586" y="8"/>
                  </a:lnTo>
                  <a:lnTo>
                    <a:pt x="586" y="54"/>
                  </a:lnTo>
                  <a:lnTo>
                    <a:pt x="586" y="62"/>
                  </a:lnTo>
                  <a:lnTo>
                    <a:pt x="590" y="68"/>
                  </a:lnTo>
                  <a:lnTo>
                    <a:pt x="596" y="74"/>
                  </a:lnTo>
                  <a:lnTo>
                    <a:pt x="610" y="90"/>
                  </a:lnTo>
                  <a:lnTo>
                    <a:pt x="616" y="100"/>
                  </a:lnTo>
                  <a:lnTo>
                    <a:pt x="622" y="112"/>
                  </a:lnTo>
                  <a:lnTo>
                    <a:pt x="628" y="124"/>
                  </a:lnTo>
                  <a:lnTo>
                    <a:pt x="628" y="136"/>
                  </a:lnTo>
                  <a:lnTo>
                    <a:pt x="626" y="152"/>
                  </a:lnTo>
                  <a:lnTo>
                    <a:pt x="622" y="168"/>
                  </a:lnTo>
                  <a:lnTo>
                    <a:pt x="614" y="184"/>
                  </a:lnTo>
                  <a:lnTo>
                    <a:pt x="604" y="196"/>
                  </a:lnTo>
                  <a:lnTo>
                    <a:pt x="592" y="206"/>
                  </a:lnTo>
                  <a:lnTo>
                    <a:pt x="576" y="214"/>
                  </a:lnTo>
                  <a:lnTo>
                    <a:pt x="562" y="218"/>
                  </a:lnTo>
                  <a:lnTo>
                    <a:pt x="544" y="220"/>
                  </a:lnTo>
                  <a:lnTo>
                    <a:pt x="528" y="218"/>
                  </a:lnTo>
                  <a:lnTo>
                    <a:pt x="512" y="214"/>
                  </a:lnTo>
                  <a:lnTo>
                    <a:pt x="496" y="206"/>
                  </a:lnTo>
                  <a:lnTo>
                    <a:pt x="484" y="196"/>
                  </a:lnTo>
                  <a:lnTo>
                    <a:pt x="474" y="184"/>
                  </a:lnTo>
                  <a:lnTo>
                    <a:pt x="466" y="168"/>
                  </a:lnTo>
                  <a:lnTo>
                    <a:pt x="462" y="152"/>
                  </a:lnTo>
                  <a:lnTo>
                    <a:pt x="460" y="136"/>
                  </a:lnTo>
                  <a:lnTo>
                    <a:pt x="462" y="124"/>
                  </a:lnTo>
                  <a:lnTo>
                    <a:pt x="466" y="112"/>
                  </a:lnTo>
                  <a:lnTo>
                    <a:pt x="472" y="100"/>
                  </a:lnTo>
                  <a:lnTo>
                    <a:pt x="478" y="90"/>
                  </a:lnTo>
                  <a:lnTo>
                    <a:pt x="492" y="74"/>
                  </a:lnTo>
                  <a:lnTo>
                    <a:pt x="498" y="68"/>
                  </a:lnTo>
                  <a:lnTo>
                    <a:pt x="502" y="62"/>
                  </a:lnTo>
                  <a:lnTo>
                    <a:pt x="502" y="54"/>
                  </a:lnTo>
                  <a:lnTo>
                    <a:pt x="502" y="8"/>
                  </a:lnTo>
                  <a:lnTo>
                    <a:pt x="502" y="4"/>
                  </a:lnTo>
                  <a:lnTo>
                    <a:pt x="500" y="2"/>
                  </a:lnTo>
                  <a:lnTo>
                    <a:pt x="498" y="0"/>
                  </a:lnTo>
                  <a:lnTo>
                    <a:pt x="494" y="0"/>
                  </a:lnTo>
                  <a:lnTo>
                    <a:pt x="244" y="0"/>
                  </a:lnTo>
                  <a:lnTo>
                    <a:pt x="240" y="0"/>
                  </a:lnTo>
                  <a:lnTo>
                    <a:pt x="238" y="2"/>
                  </a:lnTo>
                  <a:lnTo>
                    <a:pt x="236" y="4"/>
                  </a:lnTo>
                  <a:lnTo>
                    <a:pt x="236" y="8"/>
                  </a:lnTo>
                  <a:lnTo>
                    <a:pt x="236" y="248"/>
                  </a:lnTo>
                  <a:lnTo>
                    <a:pt x="234" y="252"/>
                  </a:lnTo>
                  <a:lnTo>
                    <a:pt x="232" y="254"/>
                  </a:lnTo>
                  <a:lnTo>
                    <a:pt x="230" y="256"/>
                  </a:lnTo>
                  <a:lnTo>
                    <a:pt x="228" y="256"/>
                  </a:lnTo>
                  <a:lnTo>
                    <a:pt x="174" y="256"/>
                  </a:lnTo>
                  <a:lnTo>
                    <a:pt x="166" y="256"/>
                  </a:lnTo>
                  <a:lnTo>
                    <a:pt x="160" y="252"/>
                  </a:lnTo>
                  <a:lnTo>
                    <a:pt x="154" y="246"/>
                  </a:lnTo>
                  <a:lnTo>
                    <a:pt x="136" y="232"/>
                  </a:lnTo>
                  <a:lnTo>
                    <a:pt x="126" y="226"/>
                  </a:lnTo>
                  <a:lnTo>
                    <a:pt x="114" y="220"/>
                  </a:lnTo>
                  <a:lnTo>
                    <a:pt x="102" y="214"/>
                  </a:lnTo>
                  <a:lnTo>
                    <a:pt x="88" y="214"/>
                  </a:lnTo>
                  <a:lnTo>
                    <a:pt x="70" y="214"/>
                  </a:lnTo>
                  <a:lnTo>
                    <a:pt x="54" y="220"/>
                  </a:lnTo>
                  <a:lnTo>
                    <a:pt x="40" y="228"/>
                  </a:lnTo>
                  <a:lnTo>
                    <a:pt x="26" y="238"/>
                  </a:lnTo>
                  <a:lnTo>
                    <a:pt x="16" y="250"/>
                  </a:lnTo>
                  <a:lnTo>
                    <a:pt x="6" y="264"/>
                  </a:lnTo>
                  <a:lnTo>
                    <a:pt x="2" y="280"/>
                  </a:lnTo>
                  <a:lnTo>
                    <a:pt x="0" y="298"/>
                  </a:lnTo>
                  <a:lnTo>
                    <a:pt x="2" y="314"/>
                  </a:lnTo>
                  <a:lnTo>
                    <a:pt x="6" y="330"/>
                  </a:lnTo>
                  <a:lnTo>
                    <a:pt x="16" y="346"/>
                  </a:lnTo>
                  <a:lnTo>
                    <a:pt x="26" y="358"/>
                  </a:lnTo>
                  <a:lnTo>
                    <a:pt x="40" y="368"/>
                  </a:lnTo>
                  <a:lnTo>
                    <a:pt x="54" y="376"/>
                  </a:lnTo>
                  <a:lnTo>
                    <a:pt x="70" y="380"/>
                  </a:lnTo>
                  <a:lnTo>
                    <a:pt x="88" y="382"/>
                  </a:lnTo>
                  <a:lnTo>
                    <a:pt x="102" y="380"/>
                  </a:lnTo>
                  <a:lnTo>
                    <a:pt x="114" y="376"/>
                  </a:lnTo>
                  <a:lnTo>
                    <a:pt x="126" y="370"/>
                  </a:lnTo>
                  <a:lnTo>
                    <a:pt x="136" y="364"/>
                  </a:lnTo>
                  <a:lnTo>
                    <a:pt x="154" y="350"/>
                  </a:lnTo>
                  <a:lnTo>
                    <a:pt x="160" y="344"/>
                  </a:lnTo>
                  <a:lnTo>
                    <a:pt x="166" y="340"/>
                  </a:lnTo>
                  <a:lnTo>
                    <a:pt x="174" y="338"/>
                  </a:lnTo>
                  <a:lnTo>
                    <a:pt x="228" y="338"/>
                  </a:lnTo>
                  <a:lnTo>
                    <a:pt x="230" y="340"/>
                  </a:lnTo>
                  <a:lnTo>
                    <a:pt x="232" y="342"/>
                  </a:lnTo>
                  <a:lnTo>
                    <a:pt x="234" y="344"/>
                  </a:lnTo>
                  <a:lnTo>
                    <a:pt x="236" y="346"/>
                  </a:lnTo>
                  <a:lnTo>
                    <a:pt x="236" y="586"/>
                  </a:lnTo>
                  <a:lnTo>
                    <a:pt x="236" y="590"/>
                  </a:lnTo>
                  <a:lnTo>
                    <a:pt x="238" y="592"/>
                  </a:lnTo>
                  <a:lnTo>
                    <a:pt x="240" y="594"/>
                  </a:lnTo>
                  <a:lnTo>
                    <a:pt x="244" y="594"/>
                  </a:lnTo>
                  <a:lnTo>
                    <a:pt x="822" y="594"/>
                  </a:lnTo>
                  <a:lnTo>
                    <a:pt x="824" y="594"/>
                  </a:lnTo>
                  <a:lnTo>
                    <a:pt x="828" y="592"/>
                  </a:lnTo>
                  <a:lnTo>
                    <a:pt x="828" y="590"/>
                  </a:lnTo>
                  <a:lnTo>
                    <a:pt x="830" y="586"/>
                  </a:lnTo>
                  <a:lnTo>
                    <a:pt x="830" y="344"/>
                  </a:lnTo>
                  <a:lnTo>
                    <a:pt x="830" y="340"/>
                  </a:lnTo>
                  <a:lnTo>
                    <a:pt x="832" y="338"/>
                  </a:lnTo>
                  <a:lnTo>
                    <a:pt x="834" y="336"/>
                  </a:lnTo>
                  <a:lnTo>
                    <a:pt x="838" y="336"/>
                  </a:lnTo>
                  <a:lnTo>
                    <a:pt x="882" y="336"/>
                  </a:lnTo>
                  <a:lnTo>
                    <a:pt x="890" y="338"/>
                  </a:lnTo>
                  <a:lnTo>
                    <a:pt x="896" y="340"/>
                  </a:lnTo>
                  <a:lnTo>
                    <a:pt x="902" y="346"/>
                  </a:lnTo>
                  <a:lnTo>
                    <a:pt x="920" y="360"/>
                  </a:lnTo>
                  <a:lnTo>
                    <a:pt x="930" y="366"/>
                  </a:lnTo>
                  <a:lnTo>
                    <a:pt x="942" y="372"/>
                  </a:lnTo>
                  <a:lnTo>
                    <a:pt x="956" y="378"/>
                  </a:lnTo>
                  <a:lnTo>
                    <a:pt x="968" y="378"/>
                  </a:lnTo>
                  <a:lnTo>
                    <a:pt x="986" y="378"/>
                  </a:lnTo>
                  <a:lnTo>
                    <a:pt x="1002" y="372"/>
                  </a:lnTo>
                  <a:lnTo>
                    <a:pt x="1018" y="364"/>
                  </a:lnTo>
                  <a:lnTo>
                    <a:pt x="1030" y="354"/>
                  </a:lnTo>
                  <a:lnTo>
                    <a:pt x="1042" y="342"/>
                  </a:lnTo>
                  <a:lnTo>
                    <a:pt x="1050" y="328"/>
                  </a:lnTo>
                  <a:lnTo>
                    <a:pt x="1054" y="312"/>
                  </a:lnTo>
                  <a:lnTo>
                    <a:pt x="1056" y="294"/>
                  </a:lnTo>
                  <a:lnTo>
                    <a:pt x="1054" y="278"/>
                  </a:lnTo>
                  <a:lnTo>
                    <a:pt x="1050" y="262"/>
                  </a:lnTo>
                  <a:lnTo>
                    <a:pt x="1042" y="246"/>
                  </a:lnTo>
                  <a:lnTo>
                    <a:pt x="1030" y="234"/>
                  </a:lnTo>
                  <a:lnTo>
                    <a:pt x="1018" y="224"/>
                  </a:lnTo>
                  <a:lnTo>
                    <a:pt x="1002" y="216"/>
                  </a:lnTo>
                  <a:lnTo>
                    <a:pt x="986" y="212"/>
                  </a:lnTo>
                  <a:lnTo>
                    <a:pt x="968" y="210"/>
                  </a:lnTo>
                  <a:close/>
                </a:path>
              </a:pathLst>
            </a:custGeom>
            <a:solidFill>
              <a:srgbClr val="595959"/>
            </a:solidFill>
            <a:ln w="19050">
              <a:solidFill>
                <a:srgbClr val="595959"/>
              </a:solidFill>
              <a:round/>
              <a:headEnd/>
              <a:tailEnd/>
            </a:ln>
            <a:effectLst>
              <a:outerShdw blurRad="63500" algn="tl" rotWithShape="0">
                <a:srgbClr val="000000">
                  <a:alpha val="39998"/>
                </a:srgbClr>
              </a:outerShdw>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Arial" pitchFamily="34" charset="0"/>
                <a:ea typeface="ＭＳ Ｐゴシック" pitchFamily="34" charset="-128"/>
                <a:cs typeface="Arial" charset="0"/>
              </a:endParaRPr>
            </a:p>
          </p:txBody>
        </p:sp>
        <p:sp>
          <p:nvSpPr>
            <p:cNvPr id="31" name="Rectangle 30"/>
            <p:cNvSpPr>
              <a:spLocks noChangeArrowheads="1"/>
            </p:cNvSpPr>
            <p:nvPr/>
          </p:nvSpPr>
          <p:spPr bwMode="auto">
            <a:xfrm>
              <a:off x="2767013" y="3623992"/>
              <a:ext cx="1223962" cy="55505"/>
            </a:xfrm>
            <a:prstGeom prst="rect">
              <a:avLst/>
            </a:prstGeom>
            <a:solidFill>
              <a:srgbClr val="262626"/>
            </a:solidFill>
            <a:ln w="9525">
              <a:solidFill>
                <a:srgbClr val="262626"/>
              </a:solidFill>
              <a:miter lim="800000"/>
              <a:headEnd/>
              <a:tailEnd/>
            </a:ln>
            <a:effectLst>
              <a:outerShdw blurRad="40000" dist="23000" dir="5400000" rotWithShape="0">
                <a:srgbClr val="808080">
                  <a:alpha val="34998"/>
                </a:srgbClr>
              </a:outerShdw>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charset="0"/>
                <a:ea typeface="ＭＳ Ｐゴシック" charset="-128"/>
                <a:cs typeface="Arial" charset="0"/>
              </a:endParaRPr>
            </a:p>
          </p:txBody>
        </p:sp>
      </p:grpSp>
      <p:grpSp>
        <p:nvGrpSpPr>
          <p:cNvPr id="4" name="Group 98"/>
          <p:cNvGrpSpPr>
            <a:grpSpLocks/>
          </p:cNvGrpSpPr>
          <p:nvPr/>
        </p:nvGrpSpPr>
        <p:grpSpPr bwMode="auto">
          <a:xfrm>
            <a:off x="703263" y="4645653"/>
            <a:ext cx="1225550" cy="952500"/>
            <a:chOff x="1541463" y="2727059"/>
            <a:chExt cx="1225550" cy="952438"/>
          </a:xfrm>
          <a:solidFill>
            <a:schemeClr val="accent2">
              <a:lumMod val="60000"/>
              <a:lumOff val="40000"/>
            </a:schemeClr>
          </a:solidFill>
        </p:grpSpPr>
        <p:sp>
          <p:nvSpPr>
            <p:cNvPr id="33" name="Freeform 24"/>
            <p:cNvSpPr>
              <a:spLocks/>
            </p:cNvSpPr>
            <p:nvPr/>
          </p:nvSpPr>
          <p:spPr bwMode="auto">
            <a:xfrm>
              <a:off x="1541463" y="2727059"/>
              <a:ext cx="1225550" cy="894709"/>
            </a:xfrm>
            <a:custGeom>
              <a:avLst/>
              <a:gdLst>
                <a:gd name="T0" fmla="*/ 2147483647 w 594"/>
                <a:gd name="T1" fmla="*/ 2147483647 h 806"/>
                <a:gd name="T2" fmla="*/ 2147483647 w 594"/>
                <a:gd name="T3" fmla="*/ 2147483647 h 806"/>
                <a:gd name="T4" fmla="*/ 2147483647 w 594"/>
                <a:gd name="T5" fmla="*/ 2147483647 h 806"/>
                <a:gd name="T6" fmla="*/ 2147483647 w 594"/>
                <a:gd name="T7" fmla="*/ 2147483647 h 806"/>
                <a:gd name="T8" fmla="*/ 2147483647 w 594"/>
                <a:gd name="T9" fmla="*/ 2147483647 h 806"/>
                <a:gd name="T10" fmla="*/ 2147483647 w 594"/>
                <a:gd name="T11" fmla="*/ 2147483647 h 806"/>
                <a:gd name="T12" fmla="*/ 2147483647 w 594"/>
                <a:gd name="T13" fmla="*/ 2147483647 h 806"/>
                <a:gd name="T14" fmla="*/ 2147483647 w 594"/>
                <a:gd name="T15" fmla="*/ 2147483647 h 806"/>
                <a:gd name="T16" fmla="*/ 2147483647 w 594"/>
                <a:gd name="T17" fmla="*/ 2147483647 h 806"/>
                <a:gd name="T18" fmla="*/ 2147483647 w 594"/>
                <a:gd name="T19" fmla="*/ 2147483647 h 806"/>
                <a:gd name="T20" fmla="*/ 2147483647 w 594"/>
                <a:gd name="T21" fmla="*/ 2147483647 h 806"/>
                <a:gd name="T22" fmla="*/ 2147483647 w 594"/>
                <a:gd name="T23" fmla="*/ 2147483647 h 806"/>
                <a:gd name="T24" fmla="*/ 2147483647 w 594"/>
                <a:gd name="T25" fmla="*/ 2147483647 h 806"/>
                <a:gd name="T26" fmla="*/ 2147483647 w 594"/>
                <a:gd name="T27" fmla="*/ 2147483647 h 806"/>
                <a:gd name="T28" fmla="*/ 2147483647 w 594"/>
                <a:gd name="T29" fmla="*/ 2147483647 h 806"/>
                <a:gd name="T30" fmla="*/ 2147483647 w 594"/>
                <a:gd name="T31" fmla="*/ 2147483647 h 806"/>
                <a:gd name="T32" fmla="*/ 2147483647 w 594"/>
                <a:gd name="T33" fmla="*/ 2147483647 h 806"/>
                <a:gd name="T34" fmla="*/ 2147483647 w 594"/>
                <a:gd name="T35" fmla="*/ 2147483647 h 806"/>
                <a:gd name="T36" fmla="*/ 2147483647 w 594"/>
                <a:gd name="T37" fmla="*/ 2147483647 h 806"/>
                <a:gd name="T38" fmla="*/ 2147483647 w 594"/>
                <a:gd name="T39" fmla="*/ 2147483647 h 806"/>
                <a:gd name="T40" fmla="*/ 2147483647 w 594"/>
                <a:gd name="T41" fmla="*/ 2147483647 h 806"/>
                <a:gd name="T42" fmla="*/ 2147483647 w 594"/>
                <a:gd name="T43" fmla="*/ 2147483647 h 806"/>
                <a:gd name="T44" fmla="*/ 2147483647 w 594"/>
                <a:gd name="T45" fmla="*/ 2147483647 h 806"/>
                <a:gd name="T46" fmla="*/ 2147483647 w 594"/>
                <a:gd name="T47" fmla="*/ 0 h 806"/>
                <a:gd name="T48" fmla="*/ 2147483647 w 594"/>
                <a:gd name="T49" fmla="*/ 0 h 806"/>
                <a:gd name="T50" fmla="*/ 2147483647 w 594"/>
                <a:gd name="T51" fmla="*/ 2147483647 h 806"/>
                <a:gd name="T52" fmla="*/ 2147483647 w 594"/>
                <a:gd name="T53" fmla="*/ 2147483647 h 806"/>
                <a:gd name="T54" fmla="*/ 2147483647 w 594"/>
                <a:gd name="T55" fmla="*/ 2147483647 h 806"/>
                <a:gd name="T56" fmla="*/ 2147483647 w 594"/>
                <a:gd name="T57" fmla="*/ 2147483647 h 806"/>
                <a:gd name="T58" fmla="*/ 2147483647 w 594"/>
                <a:gd name="T59" fmla="*/ 2147483647 h 806"/>
                <a:gd name="T60" fmla="*/ 2147483647 w 594"/>
                <a:gd name="T61" fmla="*/ 2147483647 h 806"/>
                <a:gd name="T62" fmla="*/ 2147483647 w 594"/>
                <a:gd name="T63" fmla="*/ 2147483647 h 806"/>
                <a:gd name="T64" fmla="*/ 2147483647 w 594"/>
                <a:gd name="T65" fmla="*/ 2147483647 h 806"/>
                <a:gd name="T66" fmla="*/ 2147483647 w 594"/>
                <a:gd name="T67" fmla="*/ 2147483647 h 806"/>
                <a:gd name="T68" fmla="*/ 2147483647 w 594"/>
                <a:gd name="T69" fmla="*/ 2147483647 h 806"/>
                <a:gd name="T70" fmla="*/ 2147483647 w 594"/>
                <a:gd name="T71" fmla="*/ 2147483647 h 806"/>
                <a:gd name="T72" fmla="*/ 2147483647 w 594"/>
                <a:gd name="T73" fmla="*/ 2147483647 h 806"/>
                <a:gd name="T74" fmla="*/ 2147483647 w 594"/>
                <a:gd name="T75" fmla="*/ 2147483647 h 806"/>
                <a:gd name="T76" fmla="*/ 0 w 594"/>
                <a:gd name="T77" fmla="*/ 2147483647 h 806"/>
                <a:gd name="T78" fmla="*/ 0 w 594"/>
                <a:gd name="T79" fmla="*/ 2147483647 h 806"/>
                <a:gd name="T80" fmla="*/ 2147483647 w 594"/>
                <a:gd name="T81" fmla="*/ 2147483647 h 806"/>
                <a:gd name="T82" fmla="*/ 2147483647 w 594"/>
                <a:gd name="T83" fmla="*/ 2147483647 h 806"/>
                <a:gd name="T84" fmla="*/ 2147483647 w 594"/>
                <a:gd name="T85" fmla="*/ 2147483647 h 806"/>
                <a:gd name="T86" fmla="*/ 2147483647 w 594"/>
                <a:gd name="T87" fmla="*/ 2147483647 h 806"/>
                <a:gd name="T88" fmla="*/ 2147483647 w 594"/>
                <a:gd name="T89" fmla="*/ 2147483647 h 806"/>
                <a:gd name="T90" fmla="*/ 2147483647 w 594"/>
                <a:gd name="T91" fmla="*/ 2147483647 h 806"/>
                <a:gd name="T92" fmla="*/ 2147483647 w 594"/>
                <a:gd name="T93" fmla="*/ 2147483647 h 806"/>
                <a:gd name="T94" fmla="*/ 2147483647 w 594"/>
                <a:gd name="T95" fmla="*/ 2147483647 h 806"/>
                <a:gd name="T96" fmla="*/ 2147483647 w 594"/>
                <a:gd name="T97" fmla="*/ 2147483647 h 806"/>
                <a:gd name="T98" fmla="*/ 2147483647 w 594"/>
                <a:gd name="T99" fmla="*/ 2147483647 h 806"/>
                <a:gd name="T100" fmla="*/ 2147483647 w 594"/>
                <a:gd name="T101" fmla="*/ 2147483647 h 806"/>
                <a:gd name="T102" fmla="*/ 2147483647 w 594"/>
                <a:gd name="T103" fmla="*/ 2147483647 h 806"/>
                <a:gd name="T104" fmla="*/ 2147483647 w 594"/>
                <a:gd name="T105" fmla="*/ 2147483647 h 806"/>
                <a:gd name="T106" fmla="*/ 2147483647 w 594"/>
                <a:gd name="T107" fmla="*/ 2147483647 h 806"/>
                <a:gd name="T108" fmla="*/ 2147483647 w 594"/>
                <a:gd name="T109" fmla="*/ 2147483647 h 806"/>
                <a:gd name="T110" fmla="*/ 2147483647 w 594"/>
                <a:gd name="T111" fmla="*/ 2147483647 h 806"/>
                <a:gd name="T112" fmla="*/ 2147483647 w 594"/>
                <a:gd name="T113" fmla="*/ 2147483647 h 806"/>
                <a:gd name="T114" fmla="*/ 2147483647 w 594"/>
                <a:gd name="T115" fmla="*/ 2147483647 h 806"/>
                <a:gd name="T116" fmla="*/ 2147483647 w 594"/>
                <a:gd name="T117" fmla="*/ 2147483647 h 806"/>
                <a:gd name="T118" fmla="*/ 2147483647 w 594"/>
                <a:gd name="T119" fmla="*/ 2147483647 h 806"/>
                <a:gd name="T120" fmla="*/ 2147483647 w 594"/>
                <a:gd name="T121" fmla="*/ 2147483647 h 806"/>
                <a:gd name="T122" fmla="*/ 2147483647 w 594"/>
                <a:gd name="T123" fmla="*/ 2147483647 h 806"/>
                <a:gd name="T124" fmla="*/ 2147483647 w 594"/>
                <a:gd name="T125" fmla="*/ 2147483647 h 80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94"/>
                <a:gd name="T190" fmla="*/ 0 h 806"/>
                <a:gd name="T191" fmla="*/ 594 w 594"/>
                <a:gd name="T192" fmla="*/ 806 h 80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94" h="806">
                  <a:moveTo>
                    <a:pt x="452" y="426"/>
                  </a:moveTo>
                  <a:lnTo>
                    <a:pt x="452" y="426"/>
                  </a:lnTo>
                  <a:lnTo>
                    <a:pt x="466" y="426"/>
                  </a:lnTo>
                  <a:lnTo>
                    <a:pt x="478" y="432"/>
                  </a:lnTo>
                  <a:lnTo>
                    <a:pt x="490" y="438"/>
                  </a:lnTo>
                  <a:lnTo>
                    <a:pt x="500" y="444"/>
                  </a:lnTo>
                  <a:lnTo>
                    <a:pt x="518" y="458"/>
                  </a:lnTo>
                  <a:lnTo>
                    <a:pt x="524" y="464"/>
                  </a:lnTo>
                  <a:lnTo>
                    <a:pt x="530" y="468"/>
                  </a:lnTo>
                  <a:lnTo>
                    <a:pt x="538" y="468"/>
                  </a:lnTo>
                  <a:lnTo>
                    <a:pt x="586" y="468"/>
                  </a:lnTo>
                  <a:lnTo>
                    <a:pt x="590" y="468"/>
                  </a:lnTo>
                  <a:lnTo>
                    <a:pt x="592" y="466"/>
                  </a:lnTo>
                  <a:lnTo>
                    <a:pt x="594" y="464"/>
                  </a:lnTo>
                  <a:lnTo>
                    <a:pt x="594" y="460"/>
                  </a:lnTo>
                  <a:lnTo>
                    <a:pt x="594" y="220"/>
                  </a:lnTo>
                  <a:lnTo>
                    <a:pt x="594" y="216"/>
                  </a:lnTo>
                  <a:lnTo>
                    <a:pt x="592" y="214"/>
                  </a:lnTo>
                  <a:lnTo>
                    <a:pt x="590" y="212"/>
                  </a:lnTo>
                  <a:lnTo>
                    <a:pt x="586" y="212"/>
                  </a:lnTo>
                  <a:lnTo>
                    <a:pt x="346" y="212"/>
                  </a:lnTo>
                  <a:lnTo>
                    <a:pt x="338" y="212"/>
                  </a:lnTo>
                  <a:lnTo>
                    <a:pt x="338" y="202"/>
                  </a:lnTo>
                  <a:lnTo>
                    <a:pt x="338" y="166"/>
                  </a:lnTo>
                  <a:lnTo>
                    <a:pt x="340" y="158"/>
                  </a:lnTo>
                  <a:lnTo>
                    <a:pt x="344" y="152"/>
                  </a:lnTo>
                  <a:lnTo>
                    <a:pt x="350" y="146"/>
                  </a:lnTo>
                  <a:lnTo>
                    <a:pt x="364" y="130"/>
                  </a:lnTo>
                  <a:lnTo>
                    <a:pt x="370" y="120"/>
                  </a:lnTo>
                  <a:lnTo>
                    <a:pt x="376" y="108"/>
                  </a:lnTo>
                  <a:lnTo>
                    <a:pt x="380" y="96"/>
                  </a:lnTo>
                  <a:lnTo>
                    <a:pt x="382" y="84"/>
                  </a:lnTo>
                  <a:lnTo>
                    <a:pt x="380" y="66"/>
                  </a:lnTo>
                  <a:lnTo>
                    <a:pt x="376" y="50"/>
                  </a:lnTo>
                  <a:lnTo>
                    <a:pt x="368" y="36"/>
                  </a:lnTo>
                  <a:lnTo>
                    <a:pt x="358" y="24"/>
                  </a:lnTo>
                  <a:lnTo>
                    <a:pt x="344" y="14"/>
                  </a:lnTo>
                  <a:lnTo>
                    <a:pt x="330" y="6"/>
                  </a:lnTo>
                  <a:lnTo>
                    <a:pt x="314" y="0"/>
                  </a:lnTo>
                  <a:lnTo>
                    <a:pt x="298" y="0"/>
                  </a:lnTo>
                  <a:lnTo>
                    <a:pt x="280" y="0"/>
                  </a:lnTo>
                  <a:lnTo>
                    <a:pt x="264" y="6"/>
                  </a:lnTo>
                  <a:lnTo>
                    <a:pt x="250" y="14"/>
                  </a:lnTo>
                  <a:lnTo>
                    <a:pt x="238" y="24"/>
                  </a:lnTo>
                  <a:lnTo>
                    <a:pt x="228" y="36"/>
                  </a:lnTo>
                  <a:lnTo>
                    <a:pt x="220" y="50"/>
                  </a:lnTo>
                  <a:lnTo>
                    <a:pt x="214" y="66"/>
                  </a:lnTo>
                  <a:lnTo>
                    <a:pt x="212" y="84"/>
                  </a:lnTo>
                  <a:lnTo>
                    <a:pt x="214" y="96"/>
                  </a:lnTo>
                  <a:lnTo>
                    <a:pt x="218" y="108"/>
                  </a:lnTo>
                  <a:lnTo>
                    <a:pt x="224" y="120"/>
                  </a:lnTo>
                  <a:lnTo>
                    <a:pt x="232" y="130"/>
                  </a:lnTo>
                  <a:lnTo>
                    <a:pt x="244" y="146"/>
                  </a:lnTo>
                  <a:lnTo>
                    <a:pt x="250" y="152"/>
                  </a:lnTo>
                  <a:lnTo>
                    <a:pt x="254" y="158"/>
                  </a:lnTo>
                  <a:lnTo>
                    <a:pt x="256" y="166"/>
                  </a:lnTo>
                  <a:lnTo>
                    <a:pt x="256" y="202"/>
                  </a:lnTo>
                  <a:lnTo>
                    <a:pt x="256" y="212"/>
                  </a:lnTo>
                  <a:lnTo>
                    <a:pt x="248" y="212"/>
                  </a:lnTo>
                  <a:lnTo>
                    <a:pt x="8" y="212"/>
                  </a:lnTo>
                  <a:lnTo>
                    <a:pt x="6" y="212"/>
                  </a:lnTo>
                  <a:lnTo>
                    <a:pt x="2" y="214"/>
                  </a:lnTo>
                  <a:lnTo>
                    <a:pt x="0" y="216"/>
                  </a:lnTo>
                  <a:lnTo>
                    <a:pt x="0" y="220"/>
                  </a:lnTo>
                  <a:lnTo>
                    <a:pt x="0" y="798"/>
                  </a:lnTo>
                  <a:lnTo>
                    <a:pt x="0" y="802"/>
                  </a:lnTo>
                  <a:lnTo>
                    <a:pt x="2" y="804"/>
                  </a:lnTo>
                  <a:lnTo>
                    <a:pt x="6" y="806"/>
                  </a:lnTo>
                  <a:lnTo>
                    <a:pt x="8" y="806"/>
                  </a:lnTo>
                  <a:lnTo>
                    <a:pt x="586" y="806"/>
                  </a:lnTo>
                  <a:lnTo>
                    <a:pt x="590" y="806"/>
                  </a:lnTo>
                  <a:lnTo>
                    <a:pt x="592" y="804"/>
                  </a:lnTo>
                  <a:lnTo>
                    <a:pt x="594" y="802"/>
                  </a:lnTo>
                  <a:lnTo>
                    <a:pt x="594" y="798"/>
                  </a:lnTo>
                  <a:lnTo>
                    <a:pt x="594" y="558"/>
                  </a:lnTo>
                  <a:lnTo>
                    <a:pt x="594" y="556"/>
                  </a:lnTo>
                  <a:lnTo>
                    <a:pt x="592" y="554"/>
                  </a:lnTo>
                  <a:lnTo>
                    <a:pt x="590" y="552"/>
                  </a:lnTo>
                  <a:lnTo>
                    <a:pt x="586" y="550"/>
                  </a:lnTo>
                  <a:lnTo>
                    <a:pt x="538" y="550"/>
                  </a:lnTo>
                  <a:lnTo>
                    <a:pt x="530" y="552"/>
                  </a:lnTo>
                  <a:lnTo>
                    <a:pt x="524" y="556"/>
                  </a:lnTo>
                  <a:lnTo>
                    <a:pt x="518" y="562"/>
                  </a:lnTo>
                  <a:lnTo>
                    <a:pt x="500" y="576"/>
                  </a:lnTo>
                  <a:lnTo>
                    <a:pt x="490" y="582"/>
                  </a:lnTo>
                  <a:lnTo>
                    <a:pt x="478" y="588"/>
                  </a:lnTo>
                  <a:lnTo>
                    <a:pt x="466" y="592"/>
                  </a:lnTo>
                  <a:lnTo>
                    <a:pt x="452" y="594"/>
                  </a:lnTo>
                  <a:lnTo>
                    <a:pt x="434" y="592"/>
                  </a:lnTo>
                  <a:lnTo>
                    <a:pt x="418" y="588"/>
                  </a:lnTo>
                  <a:lnTo>
                    <a:pt x="404" y="580"/>
                  </a:lnTo>
                  <a:lnTo>
                    <a:pt x="390" y="570"/>
                  </a:lnTo>
                  <a:lnTo>
                    <a:pt x="380" y="558"/>
                  </a:lnTo>
                  <a:lnTo>
                    <a:pt x="370" y="542"/>
                  </a:lnTo>
                  <a:lnTo>
                    <a:pt x="366" y="526"/>
                  </a:lnTo>
                  <a:lnTo>
                    <a:pt x="364" y="510"/>
                  </a:lnTo>
                  <a:lnTo>
                    <a:pt x="366" y="492"/>
                  </a:lnTo>
                  <a:lnTo>
                    <a:pt x="370" y="476"/>
                  </a:lnTo>
                  <a:lnTo>
                    <a:pt x="380" y="462"/>
                  </a:lnTo>
                  <a:lnTo>
                    <a:pt x="390" y="450"/>
                  </a:lnTo>
                  <a:lnTo>
                    <a:pt x="404" y="440"/>
                  </a:lnTo>
                  <a:lnTo>
                    <a:pt x="418" y="432"/>
                  </a:lnTo>
                  <a:lnTo>
                    <a:pt x="434" y="426"/>
                  </a:lnTo>
                  <a:lnTo>
                    <a:pt x="452" y="426"/>
                  </a:lnTo>
                  <a:close/>
                </a:path>
              </a:pathLst>
            </a:custGeom>
            <a:grpFill/>
            <a:ln w="9525">
              <a:noFill/>
              <a:miter lim="800000"/>
              <a:headEnd/>
              <a:tailEnd/>
            </a:ln>
          </p:spPr>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34" name="Rectangle 33"/>
            <p:cNvSpPr>
              <a:spLocks noChangeArrowheads="1"/>
            </p:cNvSpPr>
            <p:nvPr/>
          </p:nvSpPr>
          <p:spPr bwMode="auto">
            <a:xfrm>
              <a:off x="1541463" y="3623939"/>
              <a:ext cx="1223962" cy="55558"/>
            </a:xfrm>
            <a:prstGeom prst="rect">
              <a:avLst/>
            </a:prstGeom>
            <a:solidFill>
              <a:schemeClr val="accent2">
                <a:lumMod val="75000"/>
              </a:schemeClr>
            </a:solidFill>
            <a:ln w="9525">
              <a:solidFill>
                <a:srgbClr val="800000"/>
              </a:solidFill>
              <a:miter lim="800000"/>
              <a:headEnd/>
              <a:tailEnd/>
            </a:ln>
            <a:effectLst>
              <a:outerShdw blurRad="40000" dist="23000" dir="5400000" rotWithShape="0">
                <a:srgbClr val="808080">
                  <a:alpha val="34998"/>
                </a:srgbClr>
              </a:outerShdw>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charset="0"/>
                <a:ea typeface="ＭＳ Ｐゴシック" charset="-128"/>
                <a:cs typeface="Arial" charset="0"/>
              </a:endParaRPr>
            </a:p>
          </p:txBody>
        </p:sp>
      </p:grpSp>
      <p:grpSp>
        <p:nvGrpSpPr>
          <p:cNvPr id="5" name="Group 47"/>
          <p:cNvGrpSpPr/>
          <p:nvPr/>
        </p:nvGrpSpPr>
        <p:grpSpPr>
          <a:xfrm>
            <a:off x="1018961" y="2971800"/>
            <a:ext cx="1965414" cy="2309907"/>
            <a:chOff x="4876800" y="2509838"/>
            <a:chExt cx="1819453" cy="2138362"/>
          </a:xfrm>
          <a:solidFill>
            <a:schemeClr val="tx1">
              <a:lumMod val="95000"/>
              <a:lumOff val="5000"/>
            </a:schemeClr>
          </a:solidFill>
        </p:grpSpPr>
        <p:sp>
          <p:nvSpPr>
            <p:cNvPr id="36" name="Freeform 12"/>
            <p:cNvSpPr>
              <a:spLocks/>
            </p:cNvSpPr>
            <p:nvPr/>
          </p:nvSpPr>
          <p:spPr bwMode="auto">
            <a:xfrm>
              <a:off x="5098685" y="2509838"/>
              <a:ext cx="262565" cy="294270"/>
            </a:xfrm>
            <a:custGeom>
              <a:avLst/>
              <a:gdLst>
                <a:gd name="T0" fmla="*/ 275 w 283"/>
                <a:gd name="T1" fmla="*/ 61 h 362"/>
                <a:gd name="T2" fmla="*/ 275 w 283"/>
                <a:gd name="T3" fmla="*/ 61 h 362"/>
                <a:gd name="T4" fmla="*/ 278 w 283"/>
                <a:gd name="T5" fmla="*/ 109 h 362"/>
                <a:gd name="T6" fmla="*/ 281 w 283"/>
                <a:gd name="T7" fmla="*/ 149 h 362"/>
                <a:gd name="T8" fmla="*/ 283 w 283"/>
                <a:gd name="T9" fmla="*/ 185 h 362"/>
                <a:gd name="T10" fmla="*/ 283 w 283"/>
                <a:gd name="T11" fmla="*/ 217 h 362"/>
                <a:gd name="T12" fmla="*/ 280 w 283"/>
                <a:gd name="T13" fmla="*/ 248 h 362"/>
                <a:gd name="T14" fmla="*/ 275 w 283"/>
                <a:gd name="T15" fmla="*/ 280 h 362"/>
                <a:gd name="T16" fmla="*/ 267 w 283"/>
                <a:gd name="T17" fmla="*/ 315 h 362"/>
                <a:gd name="T18" fmla="*/ 256 w 283"/>
                <a:gd name="T19" fmla="*/ 353 h 362"/>
                <a:gd name="T20" fmla="*/ 256 w 283"/>
                <a:gd name="T21" fmla="*/ 353 h 362"/>
                <a:gd name="T22" fmla="*/ 240 w 283"/>
                <a:gd name="T23" fmla="*/ 357 h 362"/>
                <a:gd name="T24" fmla="*/ 224 w 283"/>
                <a:gd name="T25" fmla="*/ 359 h 362"/>
                <a:gd name="T26" fmla="*/ 209 w 283"/>
                <a:gd name="T27" fmla="*/ 361 h 362"/>
                <a:gd name="T28" fmla="*/ 194 w 283"/>
                <a:gd name="T29" fmla="*/ 362 h 362"/>
                <a:gd name="T30" fmla="*/ 179 w 283"/>
                <a:gd name="T31" fmla="*/ 362 h 362"/>
                <a:gd name="T32" fmla="*/ 166 w 283"/>
                <a:gd name="T33" fmla="*/ 361 h 362"/>
                <a:gd name="T34" fmla="*/ 152 w 283"/>
                <a:gd name="T35" fmla="*/ 358 h 362"/>
                <a:gd name="T36" fmla="*/ 140 w 283"/>
                <a:gd name="T37" fmla="*/ 356 h 362"/>
                <a:gd name="T38" fmla="*/ 128 w 283"/>
                <a:gd name="T39" fmla="*/ 353 h 362"/>
                <a:gd name="T40" fmla="*/ 116 w 283"/>
                <a:gd name="T41" fmla="*/ 348 h 362"/>
                <a:gd name="T42" fmla="*/ 105 w 283"/>
                <a:gd name="T43" fmla="*/ 344 h 362"/>
                <a:gd name="T44" fmla="*/ 95 w 283"/>
                <a:gd name="T45" fmla="*/ 337 h 362"/>
                <a:gd name="T46" fmla="*/ 85 w 283"/>
                <a:gd name="T47" fmla="*/ 330 h 362"/>
                <a:gd name="T48" fmla="*/ 76 w 283"/>
                <a:gd name="T49" fmla="*/ 324 h 362"/>
                <a:gd name="T50" fmla="*/ 67 w 283"/>
                <a:gd name="T51" fmla="*/ 315 h 362"/>
                <a:gd name="T52" fmla="*/ 58 w 283"/>
                <a:gd name="T53" fmla="*/ 307 h 362"/>
                <a:gd name="T54" fmla="*/ 50 w 283"/>
                <a:gd name="T55" fmla="*/ 297 h 362"/>
                <a:gd name="T56" fmla="*/ 43 w 283"/>
                <a:gd name="T57" fmla="*/ 287 h 362"/>
                <a:gd name="T58" fmla="*/ 37 w 283"/>
                <a:gd name="T59" fmla="*/ 276 h 362"/>
                <a:gd name="T60" fmla="*/ 30 w 283"/>
                <a:gd name="T61" fmla="*/ 265 h 362"/>
                <a:gd name="T62" fmla="*/ 24 w 283"/>
                <a:gd name="T63" fmla="*/ 253 h 362"/>
                <a:gd name="T64" fmla="*/ 20 w 283"/>
                <a:gd name="T65" fmla="*/ 239 h 362"/>
                <a:gd name="T66" fmla="*/ 16 w 283"/>
                <a:gd name="T67" fmla="*/ 226 h 362"/>
                <a:gd name="T68" fmla="*/ 11 w 283"/>
                <a:gd name="T69" fmla="*/ 211 h 362"/>
                <a:gd name="T70" fmla="*/ 8 w 283"/>
                <a:gd name="T71" fmla="*/ 197 h 362"/>
                <a:gd name="T72" fmla="*/ 6 w 283"/>
                <a:gd name="T73" fmla="*/ 182 h 362"/>
                <a:gd name="T74" fmla="*/ 2 w 283"/>
                <a:gd name="T75" fmla="*/ 150 h 362"/>
                <a:gd name="T76" fmla="*/ 0 w 283"/>
                <a:gd name="T77" fmla="*/ 116 h 362"/>
                <a:gd name="T78" fmla="*/ 1 w 283"/>
                <a:gd name="T79" fmla="*/ 80 h 362"/>
                <a:gd name="T80" fmla="*/ 1 w 283"/>
                <a:gd name="T81" fmla="*/ 80 h 362"/>
                <a:gd name="T82" fmla="*/ 13 w 283"/>
                <a:gd name="T83" fmla="*/ 63 h 362"/>
                <a:gd name="T84" fmla="*/ 27 w 283"/>
                <a:gd name="T85" fmla="*/ 48 h 362"/>
                <a:gd name="T86" fmla="*/ 41 w 283"/>
                <a:gd name="T87" fmla="*/ 34 h 362"/>
                <a:gd name="T88" fmla="*/ 58 w 283"/>
                <a:gd name="T89" fmla="*/ 23 h 362"/>
                <a:gd name="T90" fmla="*/ 75 w 283"/>
                <a:gd name="T91" fmla="*/ 14 h 362"/>
                <a:gd name="T92" fmla="*/ 93 w 283"/>
                <a:gd name="T93" fmla="*/ 8 h 362"/>
                <a:gd name="T94" fmla="*/ 112 w 283"/>
                <a:gd name="T95" fmla="*/ 3 h 362"/>
                <a:gd name="T96" fmla="*/ 131 w 283"/>
                <a:gd name="T97" fmla="*/ 1 h 362"/>
                <a:gd name="T98" fmla="*/ 151 w 283"/>
                <a:gd name="T99" fmla="*/ 0 h 362"/>
                <a:gd name="T100" fmla="*/ 170 w 283"/>
                <a:gd name="T101" fmla="*/ 2 h 362"/>
                <a:gd name="T102" fmla="*/ 189 w 283"/>
                <a:gd name="T103" fmla="*/ 7 h 362"/>
                <a:gd name="T104" fmla="*/ 208 w 283"/>
                <a:gd name="T105" fmla="*/ 12 h 362"/>
                <a:gd name="T106" fmla="*/ 227 w 283"/>
                <a:gd name="T107" fmla="*/ 21 h 362"/>
                <a:gd name="T108" fmla="*/ 244 w 283"/>
                <a:gd name="T109" fmla="*/ 32 h 362"/>
                <a:gd name="T110" fmla="*/ 260 w 283"/>
                <a:gd name="T111" fmla="*/ 46 h 362"/>
                <a:gd name="T112" fmla="*/ 267 w 283"/>
                <a:gd name="T113" fmla="*/ 53 h 362"/>
                <a:gd name="T114" fmla="*/ 275 w 283"/>
                <a:gd name="T115" fmla="*/ 61 h 362"/>
                <a:gd name="T116" fmla="*/ 275 w 283"/>
                <a:gd name="T117" fmla="*/ 61 h 36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3"/>
                <a:gd name="T178" fmla="*/ 0 h 362"/>
                <a:gd name="T179" fmla="*/ 283 w 283"/>
                <a:gd name="T180" fmla="*/ 362 h 36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3" h="362">
                  <a:moveTo>
                    <a:pt x="275" y="61"/>
                  </a:moveTo>
                  <a:lnTo>
                    <a:pt x="275" y="61"/>
                  </a:lnTo>
                  <a:lnTo>
                    <a:pt x="278" y="109"/>
                  </a:lnTo>
                  <a:lnTo>
                    <a:pt x="281" y="149"/>
                  </a:lnTo>
                  <a:lnTo>
                    <a:pt x="283" y="185"/>
                  </a:lnTo>
                  <a:lnTo>
                    <a:pt x="283" y="217"/>
                  </a:lnTo>
                  <a:lnTo>
                    <a:pt x="280" y="248"/>
                  </a:lnTo>
                  <a:lnTo>
                    <a:pt x="275" y="280"/>
                  </a:lnTo>
                  <a:lnTo>
                    <a:pt x="267" y="315"/>
                  </a:lnTo>
                  <a:lnTo>
                    <a:pt x="256" y="353"/>
                  </a:lnTo>
                  <a:lnTo>
                    <a:pt x="240" y="357"/>
                  </a:lnTo>
                  <a:lnTo>
                    <a:pt x="224" y="359"/>
                  </a:lnTo>
                  <a:lnTo>
                    <a:pt x="209" y="361"/>
                  </a:lnTo>
                  <a:lnTo>
                    <a:pt x="194" y="362"/>
                  </a:lnTo>
                  <a:lnTo>
                    <a:pt x="179" y="362"/>
                  </a:lnTo>
                  <a:lnTo>
                    <a:pt x="166" y="361"/>
                  </a:lnTo>
                  <a:lnTo>
                    <a:pt x="152" y="358"/>
                  </a:lnTo>
                  <a:lnTo>
                    <a:pt x="140" y="356"/>
                  </a:lnTo>
                  <a:lnTo>
                    <a:pt x="128" y="353"/>
                  </a:lnTo>
                  <a:lnTo>
                    <a:pt x="116" y="348"/>
                  </a:lnTo>
                  <a:lnTo>
                    <a:pt x="105" y="344"/>
                  </a:lnTo>
                  <a:lnTo>
                    <a:pt x="95" y="337"/>
                  </a:lnTo>
                  <a:lnTo>
                    <a:pt x="85" y="330"/>
                  </a:lnTo>
                  <a:lnTo>
                    <a:pt x="76" y="324"/>
                  </a:lnTo>
                  <a:lnTo>
                    <a:pt x="67" y="315"/>
                  </a:lnTo>
                  <a:lnTo>
                    <a:pt x="58" y="307"/>
                  </a:lnTo>
                  <a:lnTo>
                    <a:pt x="50" y="297"/>
                  </a:lnTo>
                  <a:lnTo>
                    <a:pt x="43" y="287"/>
                  </a:lnTo>
                  <a:lnTo>
                    <a:pt x="37" y="276"/>
                  </a:lnTo>
                  <a:lnTo>
                    <a:pt x="30" y="265"/>
                  </a:lnTo>
                  <a:lnTo>
                    <a:pt x="24" y="253"/>
                  </a:lnTo>
                  <a:lnTo>
                    <a:pt x="20" y="239"/>
                  </a:lnTo>
                  <a:lnTo>
                    <a:pt x="16" y="226"/>
                  </a:lnTo>
                  <a:lnTo>
                    <a:pt x="11" y="211"/>
                  </a:lnTo>
                  <a:lnTo>
                    <a:pt x="8" y="197"/>
                  </a:lnTo>
                  <a:lnTo>
                    <a:pt x="6" y="182"/>
                  </a:lnTo>
                  <a:lnTo>
                    <a:pt x="2" y="150"/>
                  </a:lnTo>
                  <a:lnTo>
                    <a:pt x="0" y="116"/>
                  </a:lnTo>
                  <a:lnTo>
                    <a:pt x="1" y="80"/>
                  </a:lnTo>
                  <a:lnTo>
                    <a:pt x="13" y="63"/>
                  </a:lnTo>
                  <a:lnTo>
                    <a:pt x="27" y="48"/>
                  </a:lnTo>
                  <a:lnTo>
                    <a:pt x="41" y="34"/>
                  </a:lnTo>
                  <a:lnTo>
                    <a:pt x="58" y="23"/>
                  </a:lnTo>
                  <a:lnTo>
                    <a:pt x="75" y="14"/>
                  </a:lnTo>
                  <a:lnTo>
                    <a:pt x="93" y="8"/>
                  </a:lnTo>
                  <a:lnTo>
                    <a:pt x="112" y="3"/>
                  </a:lnTo>
                  <a:lnTo>
                    <a:pt x="131" y="1"/>
                  </a:lnTo>
                  <a:lnTo>
                    <a:pt x="151" y="0"/>
                  </a:lnTo>
                  <a:lnTo>
                    <a:pt x="170" y="2"/>
                  </a:lnTo>
                  <a:lnTo>
                    <a:pt x="189" y="7"/>
                  </a:lnTo>
                  <a:lnTo>
                    <a:pt x="208" y="12"/>
                  </a:lnTo>
                  <a:lnTo>
                    <a:pt x="227" y="21"/>
                  </a:lnTo>
                  <a:lnTo>
                    <a:pt x="244" y="32"/>
                  </a:lnTo>
                  <a:lnTo>
                    <a:pt x="260" y="46"/>
                  </a:lnTo>
                  <a:lnTo>
                    <a:pt x="267" y="53"/>
                  </a:lnTo>
                  <a:lnTo>
                    <a:pt x="275" y="61"/>
                  </a:lnTo>
                  <a:close/>
                </a:path>
              </a:pathLst>
            </a:custGeom>
            <a:grpFill/>
            <a:ln w="9525">
              <a:noFill/>
              <a:round/>
              <a:headEnd/>
              <a:tailEnd/>
            </a:ln>
            <a:effectLst>
              <a:outerShdw blurRad="50800" dist="38100" dir="2700000">
                <a:srgbClr val="000000">
                  <a:alpha val="43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Arial" charset="0"/>
              </a:endParaRPr>
            </a:p>
          </p:txBody>
        </p:sp>
        <p:sp>
          <p:nvSpPr>
            <p:cNvPr id="37" name="Freeform 13"/>
            <p:cNvSpPr>
              <a:spLocks/>
            </p:cNvSpPr>
            <p:nvPr/>
          </p:nvSpPr>
          <p:spPr bwMode="auto">
            <a:xfrm>
              <a:off x="6171126" y="2519648"/>
              <a:ext cx="281054" cy="317159"/>
            </a:xfrm>
            <a:custGeom>
              <a:avLst/>
              <a:gdLst>
                <a:gd name="T0" fmla="*/ 100 w 302"/>
                <a:gd name="T1" fmla="*/ 13 h 385"/>
                <a:gd name="T2" fmla="*/ 131 w 302"/>
                <a:gd name="T3" fmla="*/ 5 h 385"/>
                <a:gd name="T4" fmla="*/ 158 w 302"/>
                <a:gd name="T5" fmla="*/ 0 h 385"/>
                <a:gd name="T6" fmla="*/ 184 w 302"/>
                <a:gd name="T7" fmla="*/ 0 h 385"/>
                <a:gd name="T8" fmla="*/ 206 w 302"/>
                <a:gd name="T9" fmla="*/ 4 h 385"/>
                <a:gd name="T10" fmla="*/ 226 w 302"/>
                <a:gd name="T11" fmla="*/ 10 h 385"/>
                <a:gd name="T12" fmla="*/ 244 w 302"/>
                <a:gd name="T13" fmla="*/ 19 h 385"/>
                <a:gd name="T14" fmla="*/ 259 w 302"/>
                <a:gd name="T15" fmla="*/ 32 h 385"/>
                <a:gd name="T16" fmla="*/ 272 w 302"/>
                <a:gd name="T17" fmla="*/ 45 h 385"/>
                <a:gd name="T18" fmla="*/ 282 w 302"/>
                <a:gd name="T19" fmla="*/ 62 h 385"/>
                <a:gd name="T20" fmla="*/ 290 w 302"/>
                <a:gd name="T21" fmla="*/ 79 h 385"/>
                <a:gd name="T22" fmla="*/ 300 w 302"/>
                <a:gd name="T23" fmla="*/ 118 h 385"/>
                <a:gd name="T24" fmla="*/ 302 w 302"/>
                <a:gd name="T25" fmla="*/ 162 h 385"/>
                <a:gd name="T26" fmla="*/ 296 w 302"/>
                <a:gd name="T27" fmla="*/ 206 h 385"/>
                <a:gd name="T28" fmla="*/ 284 w 302"/>
                <a:gd name="T29" fmla="*/ 251 h 385"/>
                <a:gd name="T30" fmla="*/ 264 w 302"/>
                <a:gd name="T31" fmla="*/ 292 h 385"/>
                <a:gd name="T32" fmla="*/ 240 w 302"/>
                <a:gd name="T33" fmla="*/ 329 h 385"/>
                <a:gd name="T34" fmla="*/ 210 w 302"/>
                <a:gd name="T35" fmla="*/ 358 h 385"/>
                <a:gd name="T36" fmla="*/ 192 w 302"/>
                <a:gd name="T37" fmla="*/ 369 h 385"/>
                <a:gd name="T38" fmla="*/ 174 w 302"/>
                <a:gd name="T39" fmla="*/ 378 h 385"/>
                <a:gd name="T40" fmla="*/ 155 w 302"/>
                <a:gd name="T41" fmla="*/ 383 h 385"/>
                <a:gd name="T42" fmla="*/ 135 w 302"/>
                <a:gd name="T43" fmla="*/ 385 h 385"/>
                <a:gd name="T44" fmla="*/ 114 w 302"/>
                <a:gd name="T45" fmla="*/ 384 h 385"/>
                <a:gd name="T46" fmla="*/ 92 w 302"/>
                <a:gd name="T47" fmla="*/ 380 h 385"/>
                <a:gd name="T48" fmla="*/ 68 w 302"/>
                <a:gd name="T49" fmla="*/ 371 h 385"/>
                <a:gd name="T50" fmla="*/ 45 w 302"/>
                <a:gd name="T51" fmla="*/ 359 h 385"/>
                <a:gd name="T52" fmla="*/ 35 w 302"/>
                <a:gd name="T53" fmla="*/ 334 h 385"/>
                <a:gd name="T54" fmla="*/ 17 w 302"/>
                <a:gd name="T55" fmla="*/ 283 h 385"/>
                <a:gd name="T56" fmla="*/ 5 w 302"/>
                <a:gd name="T57" fmla="*/ 231 h 385"/>
                <a:gd name="T58" fmla="*/ 0 w 302"/>
                <a:gd name="T59" fmla="*/ 178 h 385"/>
                <a:gd name="T60" fmla="*/ 3 w 302"/>
                <a:gd name="T61" fmla="*/ 128 h 385"/>
                <a:gd name="T62" fmla="*/ 8 w 302"/>
                <a:gd name="T63" fmla="*/ 106 h 385"/>
                <a:gd name="T64" fmla="*/ 16 w 302"/>
                <a:gd name="T65" fmla="*/ 85 h 385"/>
                <a:gd name="T66" fmla="*/ 26 w 302"/>
                <a:gd name="T67" fmla="*/ 65 h 385"/>
                <a:gd name="T68" fmla="*/ 39 w 302"/>
                <a:gd name="T69" fmla="*/ 48 h 385"/>
                <a:gd name="T70" fmla="*/ 56 w 302"/>
                <a:gd name="T71" fmla="*/ 34 h 385"/>
                <a:gd name="T72" fmla="*/ 76 w 302"/>
                <a:gd name="T73" fmla="*/ 21 h 385"/>
                <a:gd name="T74" fmla="*/ 100 w 302"/>
                <a:gd name="T75" fmla="*/ 13 h 38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02"/>
                <a:gd name="T115" fmla="*/ 0 h 385"/>
                <a:gd name="T116" fmla="*/ 302 w 302"/>
                <a:gd name="T117" fmla="*/ 385 h 38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02" h="385">
                  <a:moveTo>
                    <a:pt x="100" y="13"/>
                  </a:moveTo>
                  <a:lnTo>
                    <a:pt x="100" y="13"/>
                  </a:lnTo>
                  <a:lnTo>
                    <a:pt x="115" y="8"/>
                  </a:lnTo>
                  <a:lnTo>
                    <a:pt x="131" y="5"/>
                  </a:lnTo>
                  <a:lnTo>
                    <a:pt x="145" y="3"/>
                  </a:lnTo>
                  <a:lnTo>
                    <a:pt x="158" y="0"/>
                  </a:lnTo>
                  <a:lnTo>
                    <a:pt x="172" y="0"/>
                  </a:lnTo>
                  <a:lnTo>
                    <a:pt x="184" y="0"/>
                  </a:lnTo>
                  <a:lnTo>
                    <a:pt x="195" y="1"/>
                  </a:lnTo>
                  <a:lnTo>
                    <a:pt x="206" y="4"/>
                  </a:lnTo>
                  <a:lnTo>
                    <a:pt x="216" y="7"/>
                  </a:lnTo>
                  <a:lnTo>
                    <a:pt x="226" y="10"/>
                  </a:lnTo>
                  <a:lnTo>
                    <a:pt x="235" y="15"/>
                  </a:lnTo>
                  <a:lnTo>
                    <a:pt x="244" y="19"/>
                  </a:lnTo>
                  <a:lnTo>
                    <a:pt x="252" y="25"/>
                  </a:lnTo>
                  <a:lnTo>
                    <a:pt x="259" y="32"/>
                  </a:lnTo>
                  <a:lnTo>
                    <a:pt x="265" y="38"/>
                  </a:lnTo>
                  <a:lnTo>
                    <a:pt x="272" y="45"/>
                  </a:lnTo>
                  <a:lnTo>
                    <a:pt x="278" y="53"/>
                  </a:lnTo>
                  <a:lnTo>
                    <a:pt x="282" y="62"/>
                  </a:lnTo>
                  <a:lnTo>
                    <a:pt x="286" y="69"/>
                  </a:lnTo>
                  <a:lnTo>
                    <a:pt x="290" y="79"/>
                  </a:lnTo>
                  <a:lnTo>
                    <a:pt x="296" y="98"/>
                  </a:lnTo>
                  <a:lnTo>
                    <a:pt x="300" y="118"/>
                  </a:lnTo>
                  <a:lnTo>
                    <a:pt x="302" y="139"/>
                  </a:lnTo>
                  <a:lnTo>
                    <a:pt x="302" y="162"/>
                  </a:lnTo>
                  <a:lnTo>
                    <a:pt x="300" y="184"/>
                  </a:lnTo>
                  <a:lnTo>
                    <a:pt x="296" y="206"/>
                  </a:lnTo>
                  <a:lnTo>
                    <a:pt x="291" y="230"/>
                  </a:lnTo>
                  <a:lnTo>
                    <a:pt x="284" y="251"/>
                  </a:lnTo>
                  <a:lnTo>
                    <a:pt x="275" y="272"/>
                  </a:lnTo>
                  <a:lnTo>
                    <a:pt x="264" y="292"/>
                  </a:lnTo>
                  <a:lnTo>
                    <a:pt x="253" y="311"/>
                  </a:lnTo>
                  <a:lnTo>
                    <a:pt x="240" y="329"/>
                  </a:lnTo>
                  <a:lnTo>
                    <a:pt x="225" y="344"/>
                  </a:lnTo>
                  <a:lnTo>
                    <a:pt x="210" y="358"/>
                  </a:lnTo>
                  <a:lnTo>
                    <a:pt x="201" y="363"/>
                  </a:lnTo>
                  <a:lnTo>
                    <a:pt x="192" y="369"/>
                  </a:lnTo>
                  <a:lnTo>
                    <a:pt x="183" y="373"/>
                  </a:lnTo>
                  <a:lnTo>
                    <a:pt x="174" y="378"/>
                  </a:lnTo>
                  <a:lnTo>
                    <a:pt x="165" y="381"/>
                  </a:lnTo>
                  <a:lnTo>
                    <a:pt x="155" y="383"/>
                  </a:lnTo>
                  <a:lnTo>
                    <a:pt x="145" y="384"/>
                  </a:lnTo>
                  <a:lnTo>
                    <a:pt x="135" y="385"/>
                  </a:lnTo>
                  <a:lnTo>
                    <a:pt x="124" y="385"/>
                  </a:lnTo>
                  <a:lnTo>
                    <a:pt x="114" y="384"/>
                  </a:lnTo>
                  <a:lnTo>
                    <a:pt x="103" y="383"/>
                  </a:lnTo>
                  <a:lnTo>
                    <a:pt x="92" y="380"/>
                  </a:lnTo>
                  <a:lnTo>
                    <a:pt x="81" y="376"/>
                  </a:lnTo>
                  <a:lnTo>
                    <a:pt x="68" y="371"/>
                  </a:lnTo>
                  <a:lnTo>
                    <a:pt x="57" y="365"/>
                  </a:lnTo>
                  <a:lnTo>
                    <a:pt x="45" y="359"/>
                  </a:lnTo>
                  <a:lnTo>
                    <a:pt x="35" y="334"/>
                  </a:lnTo>
                  <a:lnTo>
                    <a:pt x="26" y="309"/>
                  </a:lnTo>
                  <a:lnTo>
                    <a:pt x="17" y="283"/>
                  </a:lnTo>
                  <a:lnTo>
                    <a:pt x="10" y="256"/>
                  </a:lnTo>
                  <a:lnTo>
                    <a:pt x="5" y="231"/>
                  </a:lnTo>
                  <a:lnTo>
                    <a:pt x="2" y="204"/>
                  </a:lnTo>
                  <a:lnTo>
                    <a:pt x="0" y="178"/>
                  </a:lnTo>
                  <a:lnTo>
                    <a:pt x="0" y="153"/>
                  </a:lnTo>
                  <a:lnTo>
                    <a:pt x="3" y="128"/>
                  </a:lnTo>
                  <a:lnTo>
                    <a:pt x="5" y="117"/>
                  </a:lnTo>
                  <a:lnTo>
                    <a:pt x="8" y="106"/>
                  </a:lnTo>
                  <a:lnTo>
                    <a:pt x="12" y="95"/>
                  </a:lnTo>
                  <a:lnTo>
                    <a:pt x="16" y="85"/>
                  </a:lnTo>
                  <a:lnTo>
                    <a:pt x="21" y="75"/>
                  </a:lnTo>
                  <a:lnTo>
                    <a:pt x="26" y="65"/>
                  </a:lnTo>
                  <a:lnTo>
                    <a:pt x="33" y="56"/>
                  </a:lnTo>
                  <a:lnTo>
                    <a:pt x="39" y="48"/>
                  </a:lnTo>
                  <a:lnTo>
                    <a:pt x="47" y="40"/>
                  </a:lnTo>
                  <a:lnTo>
                    <a:pt x="56" y="34"/>
                  </a:lnTo>
                  <a:lnTo>
                    <a:pt x="66" y="27"/>
                  </a:lnTo>
                  <a:lnTo>
                    <a:pt x="76" y="21"/>
                  </a:lnTo>
                  <a:lnTo>
                    <a:pt x="87" y="16"/>
                  </a:lnTo>
                  <a:lnTo>
                    <a:pt x="100" y="13"/>
                  </a:lnTo>
                  <a:close/>
                </a:path>
              </a:pathLst>
            </a:custGeom>
            <a:grpFill/>
            <a:ln w="9525">
              <a:noFill/>
              <a:round/>
              <a:headEnd/>
              <a:tailEnd/>
            </a:ln>
            <a:effectLst>
              <a:outerShdw blurRad="50800" dist="38100" dir="2700000">
                <a:srgbClr val="000000">
                  <a:alpha val="43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Arial" charset="0"/>
              </a:endParaRPr>
            </a:p>
          </p:txBody>
        </p:sp>
        <p:sp>
          <p:nvSpPr>
            <p:cNvPr id="38" name="Freeform 16"/>
            <p:cNvSpPr>
              <a:spLocks noEditPoints="1"/>
            </p:cNvSpPr>
            <p:nvPr/>
          </p:nvSpPr>
          <p:spPr bwMode="auto">
            <a:xfrm>
              <a:off x="4876800" y="2784490"/>
              <a:ext cx="1819453" cy="1863710"/>
            </a:xfrm>
            <a:custGeom>
              <a:avLst/>
              <a:gdLst>
                <a:gd name="T0" fmla="*/ 394 w 1969"/>
                <a:gd name="T1" fmla="*/ 99 h 2281"/>
                <a:gd name="T2" fmla="*/ 463 w 1969"/>
                <a:gd name="T3" fmla="*/ 176 h 2281"/>
                <a:gd name="T4" fmla="*/ 538 w 1969"/>
                <a:gd name="T5" fmla="*/ 501 h 2281"/>
                <a:gd name="T6" fmla="*/ 602 w 1969"/>
                <a:gd name="T7" fmla="*/ 632 h 2281"/>
                <a:gd name="T8" fmla="*/ 862 w 1969"/>
                <a:gd name="T9" fmla="*/ 644 h 2281"/>
                <a:gd name="T10" fmla="*/ 883 w 1969"/>
                <a:gd name="T11" fmla="*/ 586 h 2281"/>
                <a:gd name="T12" fmla="*/ 969 w 1969"/>
                <a:gd name="T13" fmla="*/ 591 h 2281"/>
                <a:gd name="T14" fmla="*/ 1103 w 1969"/>
                <a:gd name="T15" fmla="*/ 576 h 2281"/>
                <a:gd name="T16" fmla="*/ 1255 w 1969"/>
                <a:gd name="T17" fmla="*/ 418 h 2281"/>
                <a:gd name="T18" fmla="*/ 1465 w 1969"/>
                <a:gd name="T19" fmla="*/ 125 h 2281"/>
                <a:gd name="T20" fmla="*/ 1517 w 1969"/>
                <a:gd name="T21" fmla="*/ 160 h 2281"/>
                <a:gd name="T22" fmla="*/ 1543 w 1969"/>
                <a:gd name="T23" fmla="*/ 229 h 2281"/>
                <a:gd name="T24" fmla="*/ 1867 w 1969"/>
                <a:gd name="T25" fmla="*/ 137 h 2281"/>
                <a:gd name="T26" fmla="*/ 1967 w 1969"/>
                <a:gd name="T27" fmla="*/ 527 h 2281"/>
                <a:gd name="T28" fmla="*/ 1920 w 1969"/>
                <a:gd name="T29" fmla="*/ 1039 h 2281"/>
                <a:gd name="T30" fmla="*/ 1831 w 1969"/>
                <a:gd name="T31" fmla="*/ 1232 h 2281"/>
                <a:gd name="T32" fmla="*/ 1841 w 1969"/>
                <a:gd name="T33" fmla="*/ 1696 h 2281"/>
                <a:gd name="T34" fmla="*/ 1833 w 1969"/>
                <a:gd name="T35" fmla="*/ 2132 h 2281"/>
                <a:gd name="T36" fmla="*/ 1762 w 1969"/>
                <a:gd name="T37" fmla="*/ 2257 h 2281"/>
                <a:gd name="T38" fmla="*/ 1645 w 1969"/>
                <a:gd name="T39" fmla="*/ 2212 h 2281"/>
                <a:gd name="T40" fmla="*/ 1681 w 1969"/>
                <a:gd name="T41" fmla="*/ 1941 h 2281"/>
                <a:gd name="T42" fmla="*/ 1592 w 1969"/>
                <a:gd name="T43" fmla="*/ 1366 h 2281"/>
                <a:gd name="T44" fmla="*/ 1490 w 1969"/>
                <a:gd name="T45" fmla="*/ 1606 h 2281"/>
                <a:gd name="T46" fmla="*/ 1367 w 1969"/>
                <a:gd name="T47" fmla="*/ 2226 h 2281"/>
                <a:gd name="T48" fmla="*/ 1082 w 1969"/>
                <a:gd name="T49" fmla="*/ 2275 h 2281"/>
                <a:gd name="T50" fmla="*/ 998 w 1969"/>
                <a:gd name="T51" fmla="*/ 2233 h 2281"/>
                <a:gd name="T52" fmla="*/ 1136 w 1969"/>
                <a:gd name="T53" fmla="*/ 2179 h 2281"/>
                <a:gd name="T54" fmla="*/ 1245 w 1969"/>
                <a:gd name="T55" fmla="*/ 1863 h 2281"/>
                <a:gd name="T56" fmla="*/ 1324 w 1969"/>
                <a:gd name="T57" fmla="*/ 1030 h 2281"/>
                <a:gd name="T58" fmla="*/ 1307 w 1969"/>
                <a:gd name="T59" fmla="*/ 629 h 2281"/>
                <a:gd name="T60" fmla="*/ 1087 w 1969"/>
                <a:gd name="T61" fmla="*/ 730 h 2281"/>
                <a:gd name="T62" fmla="*/ 1028 w 1969"/>
                <a:gd name="T63" fmla="*/ 725 h 2281"/>
                <a:gd name="T64" fmla="*/ 943 w 1969"/>
                <a:gd name="T65" fmla="*/ 750 h 2281"/>
                <a:gd name="T66" fmla="*/ 872 w 1969"/>
                <a:gd name="T67" fmla="*/ 801 h 2281"/>
                <a:gd name="T68" fmla="*/ 720 w 1969"/>
                <a:gd name="T69" fmla="*/ 816 h 2281"/>
                <a:gd name="T70" fmla="*/ 535 w 1969"/>
                <a:gd name="T71" fmla="*/ 783 h 2281"/>
                <a:gd name="T72" fmla="*/ 459 w 1969"/>
                <a:gd name="T73" fmla="*/ 1198 h 2281"/>
                <a:gd name="T74" fmla="*/ 471 w 1969"/>
                <a:gd name="T75" fmla="*/ 1898 h 2281"/>
                <a:gd name="T76" fmla="*/ 536 w 1969"/>
                <a:gd name="T77" fmla="*/ 2143 h 2281"/>
                <a:gd name="T78" fmla="*/ 680 w 1969"/>
                <a:gd name="T79" fmla="*/ 2205 h 2281"/>
                <a:gd name="T80" fmla="*/ 598 w 1969"/>
                <a:gd name="T81" fmla="*/ 2277 h 2281"/>
                <a:gd name="T82" fmla="*/ 325 w 1969"/>
                <a:gd name="T83" fmla="*/ 2233 h 2281"/>
                <a:gd name="T84" fmla="*/ 196 w 1969"/>
                <a:gd name="T85" fmla="*/ 2097 h 2281"/>
                <a:gd name="T86" fmla="*/ 6 w 1969"/>
                <a:gd name="T87" fmla="*/ 2132 h 2281"/>
                <a:gd name="T88" fmla="*/ 31 w 1969"/>
                <a:gd name="T89" fmla="*/ 1801 h 2281"/>
                <a:gd name="T90" fmla="*/ 127 w 1969"/>
                <a:gd name="T91" fmla="*/ 1321 h 2281"/>
                <a:gd name="T92" fmla="*/ 72 w 1969"/>
                <a:gd name="T93" fmla="*/ 1097 h 2281"/>
                <a:gd name="T94" fmla="*/ 69 w 1969"/>
                <a:gd name="T95" fmla="*/ 848 h 2281"/>
                <a:gd name="T96" fmla="*/ 89 w 1969"/>
                <a:gd name="T97" fmla="*/ 278 h 2281"/>
                <a:gd name="T98" fmla="*/ 179 w 1969"/>
                <a:gd name="T99" fmla="*/ 53 h 2281"/>
                <a:gd name="T100" fmla="*/ 280 w 1969"/>
                <a:gd name="T101" fmla="*/ 14 h 2281"/>
                <a:gd name="T102" fmla="*/ 1428 w 1969"/>
                <a:gd name="T103" fmla="*/ 383 h 2281"/>
                <a:gd name="T104" fmla="*/ 1465 w 1969"/>
                <a:gd name="T105" fmla="*/ 250 h 2281"/>
                <a:gd name="T106" fmla="*/ 1464 w 1969"/>
                <a:gd name="T107" fmla="*/ 163 h 2281"/>
                <a:gd name="T108" fmla="*/ 1408 w 1969"/>
                <a:gd name="T109" fmla="*/ 342 h 2281"/>
                <a:gd name="T110" fmla="*/ 252 w 1969"/>
                <a:gd name="T111" fmla="*/ 1987 h 2281"/>
                <a:gd name="T112" fmla="*/ 237 w 1969"/>
                <a:gd name="T113" fmla="*/ 1820 h 2281"/>
                <a:gd name="T114" fmla="*/ 215 w 1969"/>
                <a:gd name="T115" fmla="*/ 1918 h 2281"/>
                <a:gd name="T116" fmla="*/ 262 w 1969"/>
                <a:gd name="T117" fmla="*/ 2005 h 228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969"/>
                <a:gd name="T178" fmla="*/ 0 h 2281"/>
                <a:gd name="T179" fmla="*/ 1969 w 1969"/>
                <a:gd name="T180" fmla="*/ 2281 h 228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969" h="2281">
                  <a:moveTo>
                    <a:pt x="389" y="128"/>
                  </a:moveTo>
                  <a:lnTo>
                    <a:pt x="389" y="128"/>
                  </a:lnTo>
                  <a:lnTo>
                    <a:pt x="396" y="126"/>
                  </a:lnTo>
                  <a:lnTo>
                    <a:pt x="400" y="123"/>
                  </a:lnTo>
                  <a:lnTo>
                    <a:pt x="402" y="121"/>
                  </a:lnTo>
                  <a:lnTo>
                    <a:pt x="403" y="118"/>
                  </a:lnTo>
                  <a:lnTo>
                    <a:pt x="403" y="116"/>
                  </a:lnTo>
                  <a:lnTo>
                    <a:pt x="402" y="112"/>
                  </a:lnTo>
                  <a:lnTo>
                    <a:pt x="399" y="107"/>
                  </a:lnTo>
                  <a:lnTo>
                    <a:pt x="394" y="99"/>
                  </a:lnTo>
                  <a:lnTo>
                    <a:pt x="393" y="96"/>
                  </a:lnTo>
                  <a:lnTo>
                    <a:pt x="393" y="91"/>
                  </a:lnTo>
                  <a:lnTo>
                    <a:pt x="394" y="87"/>
                  </a:lnTo>
                  <a:lnTo>
                    <a:pt x="397" y="82"/>
                  </a:lnTo>
                  <a:lnTo>
                    <a:pt x="401" y="78"/>
                  </a:lnTo>
                  <a:lnTo>
                    <a:pt x="408" y="73"/>
                  </a:lnTo>
                  <a:lnTo>
                    <a:pt x="437" y="123"/>
                  </a:lnTo>
                  <a:lnTo>
                    <a:pt x="451" y="149"/>
                  </a:lnTo>
                  <a:lnTo>
                    <a:pt x="463" y="176"/>
                  </a:lnTo>
                  <a:lnTo>
                    <a:pt x="477" y="204"/>
                  </a:lnTo>
                  <a:lnTo>
                    <a:pt x="488" y="231"/>
                  </a:lnTo>
                  <a:lnTo>
                    <a:pt x="499" y="260"/>
                  </a:lnTo>
                  <a:lnTo>
                    <a:pt x="509" y="290"/>
                  </a:lnTo>
                  <a:lnTo>
                    <a:pt x="517" y="322"/>
                  </a:lnTo>
                  <a:lnTo>
                    <a:pt x="525" y="355"/>
                  </a:lnTo>
                  <a:lnTo>
                    <a:pt x="530" y="388"/>
                  </a:lnTo>
                  <a:lnTo>
                    <a:pt x="535" y="424"/>
                  </a:lnTo>
                  <a:lnTo>
                    <a:pt x="537" y="462"/>
                  </a:lnTo>
                  <a:lnTo>
                    <a:pt x="538" y="501"/>
                  </a:lnTo>
                  <a:lnTo>
                    <a:pt x="538" y="541"/>
                  </a:lnTo>
                  <a:lnTo>
                    <a:pt x="535" y="583"/>
                  </a:lnTo>
                  <a:lnTo>
                    <a:pt x="542" y="592"/>
                  </a:lnTo>
                  <a:lnTo>
                    <a:pt x="550" y="600"/>
                  </a:lnTo>
                  <a:lnTo>
                    <a:pt x="559" y="607"/>
                  </a:lnTo>
                  <a:lnTo>
                    <a:pt x="569" y="614"/>
                  </a:lnTo>
                  <a:lnTo>
                    <a:pt x="579" y="621"/>
                  </a:lnTo>
                  <a:lnTo>
                    <a:pt x="590" y="626"/>
                  </a:lnTo>
                  <a:lnTo>
                    <a:pt x="602" y="632"/>
                  </a:lnTo>
                  <a:lnTo>
                    <a:pt x="615" y="636"/>
                  </a:lnTo>
                  <a:lnTo>
                    <a:pt x="640" y="644"/>
                  </a:lnTo>
                  <a:lnTo>
                    <a:pt x="668" y="651"/>
                  </a:lnTo>
                  <a:lnTo>
                    <a:pt x="697" y="655"/>
                  </a:lnTo>
                  <a:lnTo>
                    <a:pt x="726" y="658"/>
                  </a:lnTo>
                  <a:lnTo>
                    <a:pt x="755" y="658"/>
                  </a:lnTo>
                  <a:lnTo>
                    <a:pt x="784" y="656"/>
                  </a:lnTo>
                  <a:lnTo>
                    <a:pt x="812" y="654"/>
                  </a:lnTo>
                  <a:lnTo>
                    <a:pt x="837" y="650"/>
                  </a:lnTo>
                  <a:lnTo>
                    <a:pt x="862" y="644"/>
                  </a:lnTo>
                  <a:lnTo>
                    <a:pt x="884" y="638"/>
                  </a:lnTo>
                  <a:lnTo>
                    <a:pt x="902" y="629"/>
                  </a:lnTo>
                  <a:lnTo>
                    <a:pt x="911" y="624"/>
                  </a:lnTo>
                  <a:lnTo>
                    <a:pt x="917" y="620"/>
                  </a:lnTo>
                  <a:lnTo>
                    <a:pt x="912" y="613"/>
                  </a:lnTo>
                  <a:lnTo>
                    <a:pt x="906" y="609"/>
                  </a:lnTo>
                  <a:lnTo>
                    <a:pt x="893" y="599"/>
                  </a:lnTo>
                  <a:lnTo>
                    <a:pt x="887" y="593"/>
                  </a:lnTo>
                  <a:lnTo>
                    <a:pt x="883" y="586"/>
                  </a:lnTo>
                  <a:lnTo>
                    <a:pt x="882" y="582"/>
                  </a:lnTo>
                  <a:lnTo>
                    <a:pt x="881" y="576"/>
                  </a:lnTo>
                  <a:lnTo>
                    <a:pt x="881" y="571"/>
                  </a:lnTo>
                  <a:lnTo>
                    <a:pt x="881" y="565"/>
                  </a:lnTo>
                  <a:lnTo>
                    <a:pt x="900" y="572"/>
                  </a:lnTo>
                  <a:lnTo>
                    <a:pt x="917" y="579"/>
                  </a:lnTo>
                  <a:lnTo>
                    <a:pt x="935" y="583"/>
                  </a:lnTo>
                  <a:lnTo>
                    <a:pt x="952" y="587"/>
                  </a:lnTo>
                  <a:lnTo>
                    <a:pt x="969" y="591"/>
                  </a:lnTo>
                  <a:lnTo>
                    <a:pt x="984" y="593"/>
                  </a:lnTo>
                  <a:lnTo>
                    <a:pt x="1000" y="594"/>
                  </a:lnTo>
                  <a:lnTo>
                    <a:pt x="1014" y="594"/>
                  </a:lnTo>
                  <a:lnTo>
                    <a:pt x="1029" y="594"/>
                  </a:lnTo>
                  <a:lnTo>
                    <a:pt x="1042" y="593"/>
                  </a:lnTo>
                  <a:lnTo>
                    <a:pt x="1055" y="591"/>
                  </a:lnTo>
                  <a:lnTo>
                    <a:pt x="1068" y="589"/>
                  </a:lnTo>
                  <a:lnTo>
                    <a:pt x="1080" y="585"/>
                  </a:lnTo>
                  <a:lnTo>
                    <a:pt x="1092" y="581"/>
                  </a:lnTo>
                  <a:lnTo>
                    <a:pt x="1103" y="576"/>
                  </a:lnTo>
                  <a:lnTo>
                    <a:pt x="1114" y="571"/>
                  </a:lnTo>
                  <a:lnTo>
                    <a:pt x="1126" y="564"/>
                  </a:lnTo>
                  <a:lnTo>
                    <a:pt x="1137" y="557"/>
                  </a:lnTo>
                  <a:lnTo>
                    <a:pt x="1156" y="543"/>
                  </a:lnTo>
                  <a:lnTo>
                    <a:pt x="1174" y="525"/>
                  </a:lnTo>
                  <a:lnTo>
                    <a:pt x="1192" y="507"/>
                  </a:lnTo>
                  <a:lnTo>
                    <a:pt x="1209" y="486"/>
                  </a:lnTo>
                  <a:lnTo>
                    <a:pt x="1225" y="465"/>
                  </a:lnTo>
                  <a:lnTo>
                    <a:pt x="1240" y="442"/>
                  </a:lnTo>
                  <a:lnTo>
                    <a:pt x="1255" y="418"/>
                  </a:lnTo>
                  <a:lnTo>
                    <a:pt x="1284" y="368"/>
                  </a:lnTo>
                  <a:lnTo>
                    <a:pt x="1312" y="318"/>
                  </a:lnTo>
                  <a:lnTo>
                    <a:pt x="1341" y="268"/>
                  </a:lnTo>
                  <a:lnTo>
                    <a:pt x="1356" y="244"/>
                  </a:lnTo>
                  <a:lnTo>
                    <a:pt x="1373" y="220"/>
                  </a:lnTo>
                  <a:lnTo>
                    <a:pt x="1388" y="198"/>
                  </a:lnTo>
                  <a:lnTo>
                    <a:pt x="1406" y="178"/>
                  </a:lnTo>
                  <a:lnTo>
                    <a:pt x="1425" y="158"/>
                  </a:lnTo>
                  <a:lnTo>
                    <a:pt x="1444" y="140"/>
                  </a:lnTo>
                  <a:lnTo>
                    <a:pt x="1465" y="125"/>
                  </a:lnTo>
                  <a:lnTo>
                    <a:pt x="1476" y="118"/>
                  </a:lnTo>
                  <a:lnTo>
                    <a:pt x="1487" y="111"/>
                  </a:lnTo>
                  <a:lnTo>
                    <a:pt x="1499" y="106"/>
                  </a:lnTo>
                  <a:lnTo>
                    <a:pt x="1512" y="100"/>
                  </a:lnTo>
                  <a:lnTo>
                    <a:pt x="1524" y="96"/>
                  </a:lnTo>
                  <a:lnTo>
                    <a:pt x="1537" y="91"/>
                  </a:lnTo>
                  <a:lnTo>
                    <a:pt x="1532" y="116"/>
                  </a:lnTo>
                  <a:lnTo>
                    <a:pt x="1525" y="138"/>
                  </a:lnTo>
                  <a:lnTo>
                    <a:pt x="1517" y="160"/>
                  </a:lnTo>
                  <a:lnTo>
                    <a:pt x="1509" y="182"/>
                  </a:lnTo>
                  <a:lnTo>
                    <a:pt x="1504" y="206"/>
                  </a:lnTo>
                  <a:lnTo>
                    <a:pt x="1502" y="218"/>
                  </a:lnTo>
                  <a:lnTo>
                    <a:pt x="1499" y="231"/>
                  </a:lnTo>
                  <a:lnTo>
                    <a:pt x="1498" y="245"/>
                  </a:lnTo>
                  <a:lnTo>
                    <a:pt x="1498" y="259"/>
                  </a:lnTo>
                  <a:lnTo>
                    <a:pt x="1499" y="275"/>
                  </a:lnTo>
                  <a:lnTo>
                    <a:pt x="1501" y="291"/>
                  </a:lnTo>
                  <a:lnTo>
                    <a:pt x="1543" y="229"/>
                  </a:lnTo>
                  <a:lnTo>
                    <a:pt x="1584" y="165"/>
                  </a:lnTo>
                  <a:lnTo>
                    <a:pt x="1665" y="37"/>
                  </a:lnTo>
                  <a:lnTo>
                    <a:pt x="1694" y="51"/>
                  </a:lnTo>
                  <a:lnTo>
                    <a:pt x="1722" y="67"/>
                  </a:lnTo>
                  <a:lnTo>
                    <a:pt x="1776" y="98"/>
                  </a:lnTo>
                  <a:lnTo>
                    <a:pt x="1805" y="112"/>
                  </a:lnTo>
                  <a:lnTo>
                    <a:pt x="1835" y="126"/>
                  </a:lnTo>
                  <a:lnTo>
                    <a:pt x="1851" y="132"/>
                  </a:lnTo>
                  <a:lnTo>
                    <a:pt x="1867" y="137"/>
                  </a:lnTo>
                  <a:lnTo>
                    <a:pt x="1884" y="142"/>
                  </a:lnTo>
                  <a:lnTo>
                    <a:pt x="1902" y="146"/>
                  </a:lnTo>
                  <a:lnTo>
                    <a:pt x="1917" y="196"/>
                  </a:lnTo>
                  <a:lnTo>
                    <a:pt x="1929" y="247"/>
                  </a:lnTo>
                  <a:lnTo>
                    <a:pt x="1940" y="300"/>
                  </a:lnTo>
                  <a:lnTo>
                    <a:pt x="1949" y="356"/>
                  </a:lnTo>
                  <a:lnTo>
                    <a:pt x="1957" y="412"/>
                  </a:lnTo>
                  <a:lnTo>
                    <a:pt x="1962" y="469"/>
                  </a:lnTo>
                  <a:lnTo>
                    <a:pt x="1967" y="527"/>
                  </a:lnTo>
                  <a:lnTo>
                    <a:pt x="1969" y="585"/>
                  </a:lnTo>
                  <a:lnTo>
                    <a:pt x="1969" y="644"/>
                  </a:lnTo>
                  <a:lnTo>
                    <a:pt x="1968" y="703"/>
                  </a:lnTo>
                  <a:lnTo>
                    <a:pt x="1965" y="761"/>
                  </a:lnTo>
                  <a:lnTo>
                    <a:pt x="1959" y="819"/>
                  </a:lnTo>
                  <a:lnTo>
                    <a:pt x="1952" y="876"/>
                  </a:lnTo>
                  <a:lnTo>
                    <a:pt x="1943" y="931"/>
                  </a:lnTo>
                  <a:lnTo>
                    <a:pt x="1932" y="986"/>
                  </a:lnTo>
                  <a:lnTo>
                    <a:pt x="1920" y="1039"/>
                  </a:lnTo>
                  <a:lnTo>
                    <a:pt x="1909" y="1054"/>
                  </a:lnTo>
                  <a:lnTo>
                    <a:pt x="1898" y="1068"/>
                  </a:lnTo>
                  <a:lnTo>
                    <a:pt x="1889" y="1084"/>
                  </a:lnTo>
                  <a:lnTo>
                    <a:pt x="1879" y="1098"/>
                  </a:lnTo>
                  <a:lnTo>
                    <a:pt x="1871" y="1115"/>
                  </a:lnTo>
                  <a:lnTo>
                    <a:pt x="1863" y="1130"/>
                  </a:lnTo>
                  <a:lnTo>
                    <a:pt x="1857" y="1147"/>
                  </a:lnTo>
                  <a:lnTo>
                    <a:pt x="1850" y="1163"/>
                  </a:lnTo>
                  <a:lnTo>
                    <a:pt x="1840" y="1197"/>
                  </a:lnTo>
                  <a:lnTo>
                    <a:pt x="1831" y="1232"/>
                  </a:lnTo>
                  <a:lnTo>
                    <a:pt x="1825" y="1267"/>
                  </a:lnTo>
                  <a:lnTo>
                    <a:pt x="1821" y="1303"/>
                  </a:lnTo>
                  <a:lnTo>
                    <a:pt x="1819" y="1341"/>
                  </a:lnTo>
                  <a:lnTo>
                    <a:pt x="1818" y="1379"/>
                  </a:lnTo>
                  <a:lnTo>
                    <a:pt x="1818" y="1416"/>
                  </a:lnTo>
                  <a:lnTo>
                    <a:pt x="1819" y="1455"/>
                  </a:lnTo>
                  <a:lnTo>
                    <a:pt x="1822" y="1494"/>
                  </a:lnTo>
                  <a:lnTo>
                    <a:pt x="1824" y="1534"/>
                  </a:lnTo>
                  <a:lnTo>
                    <a:pt x="1833" y="1614"/>
                  </a:lnTo>
                  <a:lnTo>
                    <a:pt x="1841" y="1696"/>
                  </a:lnTo>
                  <a:lnTo>
                    <a:pt x="1849" y="1777"/>
                  </a:lnTo>
                  <a:lnTo>
                    <a:pt x="1852" y="1817"/>
                  </a:lnTo>
                  <a:lnTo>
                    <a:pt x="1854" y="1858"/>
                  </a:lnTo>
                  <a:lnTo>
                    <a:pt x="1855" y="1898"/>
                  </a:lnTo>
                  <a:lnTo>
                    <a:pt x="1857" y="1938"/>
                  </a:lnTo>
                  <a:lnTo>
                    <a:pt x="1855" y="1978"/>
                  </a:lnTo>
                  <a:lnTo>
                    <a:pt x="1852" y="2017"/>
                  </a:lnTo>
                  <a:lnTo>
                    <a:pt x="1848" y="2056"/>
                  </a:lnTo>
                  <a:lnTo>
                    <a:pt x="1841" y="2094"/>
                  </a:lnTo>
                  <a:lnTo>
                    <a:pt x="1833" y="2132"/>
                  </a:lnTo>
                  <a:lnTo>
                    <a:pt x="1822" y="2170"/>
                  </a:lnTo>
                  <a:lnTo>
                    <a:pt x="1815" y="2188"/>
                  </a:lnTo>
                  <a:lnTo>
                    <a:pt x="1809" y="2205"/>
                  </a:lnTo>
                  <a:lnTo>
                    <a:pt x="1801" y="2224"/>
                  </a:lnTo>
                  <a:lnTo>
                    <a:pt x="1792" y="2241"/>
                  </a:lnTo>
                  <a:lnTo>
                    <a:pt x="1787" y="2247"/>
                  </a:lnTo>
                  <a:lnTo>
                    <a:pt x="1779" y="2251"/>
                  </a:lnTo>
                  <a:lnTo>
                    <a:pt x="1771" y="2254"/>
                  </a:lnTo>
                  <a:lnTo>
                    <a:pt x="1762" y="2257"/>
                  </a:lnTo>
                  <a:lnTo>
                    <a:pt x="1752" y="2259"/>
                  </a:lnTo>
                  <a:lnTo>
                    <a:pt x="1742" y="2260"/>
                  </a:lnTo>
                  <a:lnTo>
                    <a:pt x="1721" y="2261"/>
                  </a:lnTo>
                  <a:lnTo>
                    <a:pt x="1697" y="2260"/>
                  </a:lnTo>
                  <a:lnTo>
                    <a:pt x="1674" y="2260"/>
                  </a:lnTo>
                  <a:lnTo>
                    <a:pt x="1651" y="2259"/>
                  </a:lnTo>
                  <a:lnTo>
                    <a:pt x="1628" y="2260"/>
                  </a:lnTo>
                  <a:lnTo>
                    <a:pt x="1637" y="2236"/>
                  </a:lnTo>
                  <a:lnTo>
                    <a:pt x="1645" y="2212"/>
                  </a:lnTo>
                  <a:lnTo>
                    <a:pt x="1653" y="2188"/>
                  </a:lnTo>
                  <a:lnTo>
                    <a:pt x="1660" y="2162"/>
                  </a:lnTo>
                  <a:lnTo>
                    <a:pt x="1665" y="2136"/>
                  </a:lnTo>
                  <a:lnTo>
                    <a:pt x="1670" y="2110"/>
                  </a:lnTo>
                  <a:lnTo>
                    <a:pt x="1673" y="2083"/>
                  </a:lnTo>
                  <a:lnTo>
                    <a:pt x="1676" y="2055"/>
                  </a:lnTo>
                  <a:lnTo>
                    <a:pt x="1679" y="2026"/>
                  </a:lnTo>
                  <a:lnTo>
                    <a:pt x="1680" y="1998"/>
                  </a:lnTo>
                  <a:lnTo>
                    <a:pt x="1681" y="1969"/>
                  </a:lnTo>
                  <a:lnTo>
                    <a:pt x="1681" y="1941"/>
                  </a:lnTo>
                  <a:lnTo>
                    <a:pt x="1680" y="1882"/>
                  </a:lnTo>
                  <a:lnTo>
                    <a:pt x="1675" y="1821"/>
                  </a:lnTo>
                  <a:lnTo>
                    <a:pt x="1670" y="1762"/>
                  </a:lnTo>
                  <a:lnTo>
                    <a:pt x="1662" y="1702"/>
                  </a:lnTo>
                  <a:lnTo>
                    <a:pt x="1653" y="1643"/>
                  </a:lnTo>
                  <a:lnTo>
                    <a:pt x="1642" y="1584"/>
                  </a:lnTo>
                  <a:lnTo>
                    <a:pt x="1631" y="1528"/>
                  </a:lnTo>
                  <a:lnTo>
                    <a:pt x="1618" y="1472"/>
                  </a:lnTo>
                  <a:lnTo>
                    <a:pt x="1605" y="1419"/>
                  </a:lnTo>
                  <a:lnTo>
                    <a:pt x="1592" y="1366"/>
                  </a:lnTo>
                  <a:lnTo>
                    <a:pt x="1580" y="1386"/>
                  </a:lnTo>
                  <a:lnTo>
                    <a:pt x="1567" y="1408"/>
                  </a:lnTo>
                  <a:lnTo>
                    <a:pt x="1556" y="1430"/>
                  </a:lnTo>
                  <a:lnTo>
                    <a:pt x="1545" y="1452"/>
                  </a:lnTo>
                  <a:lnTo>
                    <a:pt x="1535" y="1477"/>
                  </a:lnTo>
                  <a:lnTo>
                    <a:pt x="1525" y="1501"/>
                  </a:lnTo>
                  <a:lnTo>
                    <a:pt x="1516" y="1525"/>
                  </a:lnTo>
                  <a:lnTo>
                    <a:pt x="1507" y="1552"/>
                  </a:lnTo>
                  <a:lnTo>
                    <a:pt x="1490" y="1606"/>
                  </a:lnTo>
                  <a:lnTo>
                    <a:pt x="1477" y="1662"/>
                  </a:lnTo>
                  <a:lnTo>
                    <a:pt x="1464" y="1719"/>
                  </a:lnTo>
                  <a:lnTo>
                    <a:pt x="1453" y="1778"/>
                  </a:lnTo>
                  <a:lnTo>
                    <a:pt x="1443" y="1837"/>
                  </a:lnTo>
                  <a:lnTo>
                    <a:pt x="1434" y="1896"/>
                  </a:lnTo>
                  <a:lnTo>
                    <a:pt x="1417" y="2013"/>
                  </a:lnTo>
                  <a:lnTo>
                    <a:pt x="1404" y="2123"/>
                  </a:lnTo>
                  <a:lnTo>
                    <a:pt x="1391" y="2223"/>
                  </a:lnTo>
                  <a:lnTo>
                    <a:pt x="1367" y="2226"/>
                  </a:lnTo>
                  <a:lnTo>
                    <a:pt x="1342" y="2231"/>
                  </a:lnTo>
                  <a:lnTo>
                    <a:pt x="1317" y="2236"/>
                  </a:lnTo>
                  <a:lnTo>
                    <a:pt x="1291" y="2243"/>
                  </a:lnTo>
                  <a:lnTo>
                    <a:pt x="1238" y="2257"/>
                  </a:lnTo>
                  <a:lnTo>
                    <a:pt x="1211" y="2262"/>
                  </a:lnTo>
                  <a:lnTo>
                    <a:pt x="1184" y="2268"/>
                  </a:lnTo>
                  <a:lnTo>
                    <a:pt x="1159" y="2273"/>
                  </a:lnTo>
                  <a:lnTo>
                    <a:pt x="1132" y="2275"/>
                  </a:lnTo>
                  <a:lnTo>
                    <a:pt x="1107" y="2277"/>
                  </a:lnTo>
                  <a:lnTo>
                    <a:pt x="1082" y="2275"/>
                  </a:lnTo>
                  <a:lnTo>
                    <a:pt x="1070" y="2274"/>
                  </a:lnTo>
                  <a:lnTo>
                    <a:pt x="1058" y="2272"/>
                  </a:lnTo>
                  <a:lnTo>
                    <a:pt x="1046" y="2269"/>
                  </a:lnTo>
                  <a:lnTo>
                    <a:pt x="1034" y="2265"/>
                  </a:lnTo>
                  <a:lnTo>
                    <a:pt x="1023" y="2261"/>
                  </a:lnTo>
                  <a:lnTo>
                    <a:pt x="1012" y="2255"/>
                  </a:lnTo>
                  <a:lnTo>
                    <a:pt x="1001" y="2249"/>
                  </a:lnTo>
                  <a:lnTo>
                    <a:pt x="991" y="2241"/>
                  </a:lnTo>
                  <a:lnTo>
                    <a:pt x="998" y="2233"/>
                  </a:lnTo>
                  <a:lnTo>
                    <a:pt x="1005" y="2226"/>
                  </a:lnTo>
                  <a:lnTo>
                    <a:pt x="1013" y="2220"/>
                  </a:lnTo>
                  <a:lnTo>
                    <a:pt x="1023" y="2215"/>
                  </a:lnTo>
                  <a:lnTo>
                    <a:pt x="1033" y="2211"/>
                  </a:lnTo>
                  <a:lnTo>
                    <a:pt x="1044" y="2206"/>
                  </a:lnTo>
                  <a:lnTo>
                    <a:pt x="1067" y="2200"/>
                  </a:lnTo>
                  <a:lnTo>
                    <a:pt x="1091" y="2193"/>
                  </a:lnTo>
                  <a:lnTo>
                    <a:pt x="1113" y="2186"/>
                  </a:lnTo>
                  <a:lnTo>
                    <a:pt x="1124" y="2183"/>
                  </a:lnTo>
                  <a:lnTo>
                    <a:pt x="1136" y="2179"/>
                  </a:lnTo>
                  <a:lnTo>
                    <a:pt x="1146" y="2174"/>
                  </a:lnTo>
                  <a:lnTo>
                    <a:pt x="1154" y="2169"/>
                  </a:lnTo>
                  <a:lnTo>
                    <a:pt x="1171" y="2126"/>
                  </a:lnTo>
                  <a:lnTo>
                    <a:pt x="1186" y="2084"/>
                  </a:lnTo>
                  <a:lnTo>
                    <a:pt x="1200" y="2041"/>
                  </a:lnTo>
                  <a:lnTo>
                    <a:pt x="1212" y="1997"/>
                  </a:lnTo>
                  <a:lnTo>
                    <a:pt x="1225" y="1953"/>
                  </a:lnTo>
                  <a:lnTo>
                    <a:pt x="1235" y="1908"/>
                  </a:lnTo>
                  <a:lnTo>
                    <a:pt x="1245" y="1863"/>
                  </a:lnTo>
                  <a:lnTo>
                    <a:pt x="1253" y="1816"/>
                  </a:lnTo>
                  <a:lnTo>
                    <a:pt x="1261" y="1770"/>
                  </a:lnTo>
                  <a:lnTo>
                    <a:pt x="1269" y="1724"/>
                  </a:lnTo>
                  <a:lnTo>
                    <a:pt x="1276" y="1676"/>
                  </a:lnTo>
                  <a:lnTo>
                    <a:pt x="1281" y="1628"/>
                  </a:lnTo>
                  <a:lnTo>
                    <a:pt x="1291" y="1531"/>
                  </a:lnTo>
                  <a:lnTo>
                    <a:pt x="1300" y="1433"/>
                  </a:lnTo>
                  <a:lnTo>
                    <a:pt x="1307" y="1333"/>
                  </a:lnTo>
                  <a:lnTo>
                    <a:pt x="1312" y="1233"/>
                  </a:lnTo>
                  <a:lnTo>
                    <a:pt x="1324" y="1030"/>
                  </a:lnTo>
                  <a:lnTo>
                    <a:pt x="1330" y="928"/>
                  </a:lnTo>
                  <a:lnTo>
                    <a:pt x="1337" y="824"/>
                  </a:lnTo>
                  <a:lnTo>
                    <a:pt x="1345" y="722"/>
                  </a:lnTo>
                  <a:lnTo>
                    <a:pt x="1355" y="620"/>
                  </a:lnTo>
                  <a:lnTo>
                    <a:pt x="1349" y="619"/>
                  </a:lnTo>
                  <a:lnTo>
                    <a:pt x="1341" y="619"/>
                  </a:lnTo>
                  <a:lnTo>
                    <a:pt x="1334" y="620"/>
                  </a:lnTo>
                  <a:lnTo>
                    <a:pt x="1326" y="622"/>
                  </a:lnTo>
                  <a:lnTo>
                    <a:pt x="1307" y="629"/>
                  </a:lnTo>
                  <a:lnTo>
                    <a:pt x="1287" y="639"/>
                  </a:lnTo>
                  <a:lnTo>
                    <a:pt x="1265" y="650"/>
                  </a:lnTo>
                  <a:lnTo>
                    <a:pt x="1241" y="662"/>
                  </a:lnTo>
                  <a:lnTo>
                    <a:pt x="1192" y="690"/>
                  </a:lnTo>
                  <a:lnTo>
                    <a:pt x="1168" y="702"/>
                  </a:lnTo>
                  <a:lnTo>
                    <a:pt x="1143" y="713"/>
                  </a:lnTo>
                  <a:lnTo>
                    <a:pt x="1120" y="722"/>
                  </a:lnTo>
                  <a:lnTo>
                    <a:pt x="1109" y="725"/>
                  </a:lnTo>
                  <a:lnTo>
                    <a:pt x="1098" y="729"/>
                  </a:lnTo>
                  <a:lnTo>
                    <a:pt x="1087" y="730"/>
                  </a:lnTo>
                  <a:lnTo>
                    <a:pt x="1077" y="731"/>
                  </a:lnTo>
                  <a:lnTo>
                    <a:pt x="1067" y="731"/>
                  </a:lnTo>
                  <a:lnTo>
                    <a:pt x="1058" y="730"/>
                  </a:lnTo>
                  <a:lnTo>
                    <a:pt x="1049" y="727"/>
                  </a:lnTo>
                  <a:lnTo>
                    <a:pt x="1041" y="723"/>
                  </a:lnTo>
                  <a:lnTo>
                    <a:pt x="1033" y="718"/>
                  </a:lnTo>
                  <a:lnTo>
                    <a:pt x="1026" y="711"/>
                  </a:lnTo>
                  <a:lnTo>
                    <a:pt x="1028" y="719"/>
                  </a:lnTo>
                  <a:lnTo>
                    <a:pt x="1028" y="725"/>
                  </a:lnTo>
                  <a:lnTo>
                    <a:pt x="1026" y="731"/>
                  </a:lnTo>
                  <a:lnTo>
                    <a:pt x="1024" y="735"/>
                  </a:lnTo>
                  <a:lnTo>
                    <a:pt x="1021" y="740"/>
                  </a:lnTo>
                  <a:lnTo>
                    <a:pt x="1018" y="742"/>
                  </a:lnTo>
                  <a:lnTo>
                    <a:pt x="1014" y="744"/>
                  </a:lnTo>
                  <a:lnTo>
                    <a:pt x="1010" y="747"/>
                  </a:lnTo>
                  <a:lnTo>
                    <a:pt x="999" y="749"/>
                  </a:lnTo>
                  <a:lnTo>
                    <a:pt x="986" y="749"/>
                  </a:lnTo>
                  <a:lnTo>
                    <a:pt x="957" y="749"/>
                  </a:lnTo>
                  <a:lnTo>
                    <a:pt x="943" y="750"/>
                  </a:lnTo>
                  <a:lnTo>
                    <a:pt x="927" y="752"/>
                  </a:lnTo>
                  <a:lnTo>
                    <a:pt x="921" y="754"/>
                  </a:lnTo>
                  <a:lnTo>
                    <a:pt x="913" y="758"/>
                  </a:lnTo>
                  <a:lnTo>
                    <a:pt x="906" y="761"/>
                  </a:lnTo>
                  <a:lnTo>
                    <a:pt x="900" y="764"/>
                  </a:lnTo>
                  <a:lnTo>
                    <a:pt x="893" y="770"/>
                  </a:lnTo>
                  <a:lnTo>
                    <a:pt x="887" y="775"/>
                  </a:lnTo>
                  <a:lnTo>
                    <a:pt x="882" y="783"/>
                  </a:lnTo>
                  <a:lnTo>
                    <a:pt x="876" y="791"/>
                  </a:lnTo>
                  <a:lnTo>
                    <a:pt x="872" y="801"/>
                  </a:lnTo>
                  <a:lnTo>
                    <a:pt x="868" y="812"/>
                  </a:lnTo>
                  <a:lnTo>
                    <a:pt x="865" y="824"/>
                  </a:lnTo>
                  <a:lnTo>
                    <a:pt x="863" y="838"/>
                  </a:lnTo>
                  <a:lnTo>
                    <a:pt x="836" y="829"/>
                  </a:lnTo>
                  <a:lnTo>
                    <a:pt x="811" y="822"/>
                  </a:lnTo>
                  <a:lnTo>
                    <a:pt x="786" y="819"/>
                  </a:lnTo>
                  <a:lnTo>
                    <a:pt x="763" y="817"/>
                  </a:lnTo>
                  <a:lnTo>
                    <a:pt x="742" y="816"/>
                  </a:lnTo>
                  <a:lnTo>
                    <a:pt x="720" y="816"/>
                  </a:lnTo>
                  <a:lnTo>
                    <a:pt x="681" y="818"/>
                  </a:lnTo>
                  <a:lnTo>
                    <a:pt x="663" y="819"/>
                  </a:lnTo>
                  <a:lnTo>
                    <a:pt x="644" y="819"/>
                  </a:lnTo>
                  <a:lnTo>
                    <a:pt x="626" y="819"/>
                  </a:lnTo>
                  <a:lnTo>
                    <a:pt x="608" y="817"/>
                  </a:lnTo>
                  <a:lnTo>
                    <a:pt x="590" y="812"/>
                  </a:lnTo>
                  <a:lnTo>
                    <a:pt x="572" y="806"/>
                  </a:lnTo>
                  <a:lnTo>
                    <a:pt x="554" y="797"/>
                  </a:lnTo>
                  <a:lnTo>
                    <a:pt x="535" y="783"/>
                  </a:lnTo>
                  <a:lnTo>
                    <a:pt x="525" y="821"/>
                  </a:lnTo>
                  <a:lnTo>
                    <a:pt x="515" y="860"/>
                  </a:lnTo>
                  <a:lnTo>
                    <a:pt x="506" y="900"/>
                  </a:lnTo>
                  <a:lnTo>
                    <a:pt x="497" y="940"/>
                  </a:lnTo>
                  <a:lnTo>
                    <a:pt x="489" y="981"/>
                  </a:lnTo>
                  <a:lnTo>
                    <a:pt x="482" y="1024"/>
                  </a:lnTo>
                  <a:lnTo>
                    <a:pt x="476" y="1067"/>
                  </a:lnTo>
                  <a:lnTo>
                    <a:pt x="469" y="1110"/>
                  </a:lnTo>
                  <a:lnTo>
                    <a:pt x="463" y="1154"/>
                  </a:lnTo>
                  <a:lnTo>
                    <a:pt x="459" y="1198"/>
                  </a:lnTo>
                  <a:lnTo>
                    <a:pt x="452" y="1288"/>
                  </a:lnTo>
                  <a:lnTo>
                    <a:pt x="447" y="1379"/>
                  </a:lnTo>
                  <a:lnTo>
                    <a:pt x="444" y="1469"/>
                  </a:lnTo>
                  <a:lnTo>
                    <a:pt x="444" y="1559"/>
                  </a:lnTo>
                  <a:lnTo>
                    <a:pt x="448" y="1647"/>
                  </a:lnTo>
                  <a:lnTo>
                    <a:pt x="452" y="1734"/>
                  </a:lnTo>
                  <a:lnTo>
                    <a:pt x="457" y="1776"/>
                  </a:lnTo>
                  <a:lnTo>
                    <a:pt x="460" y="1817"/>
                  </a:lnTo>
                  <a:lnTo>
                    <a:pt x="466" y="1858"/>
                  </a:lnTo>
                  <a:lnTo>
                    <a:pt x="471" y="1898"/>
                  </a:lnTo>
                  <a:lnTo>
                    <a:pt x="477" y="1937"/>
                  </a:lnTo>
                  <a:lnTo>
                    <a:pt x="483" y="1975"/>
                  </a:lnTo>
                  <a:lnTo>
                    <a:pt x="491" y="2012"/>
                  </a:lnTo>
                  <a:lnTo>
                    <a:pt x="499" y="2047"/>
                  </a:lnTo>
                  <a:lnTo>
                    <a:pt x="508" y="2081"/>
                  </a:lnTo>
                  <a:lnTo>
                    <a:pt x="517" y="2114"/>
                  </a:lnTo>
                  <a:lnTo>
                    <a:pt x="521" y="2125"/>
                  </a:lnTo>
                  <a:lnTo>
                    <a:pt x="528" y="2134"/>
                  </a:lnTo>
                  <a:lnTo>
                    <a:pt x="536" y="2143"/>
                  </a:lnTo>
                  <a:lnTo>
                    <a:pt x="545" y="2150"/>
                  </a:lnTo>
                  <a:lnTo>
                    <a:pt x="554" y="2156"/>
                  </a:lnTo>
                  <a:lnTo>
                    <a:pt x="565" y="2162"/>
                  </a:lnTo>
                  <a:lnTo>
                    <a:pt x="576" y="2166"/>
                  </a:lnTo>
                  <a:lnTo>
                    <a:pt x="587" y="2171"/>
                  </a:lnTo>
                  <a:lnTo>
                    <a:pt x="610" y="2180"/>
                  </a:lnTo>
                  <a:lnTo>
                    <a:pt x="635" y="2186"/>
                  </a:lnTo>
                  <a:lnTo>
                    <a:pt x="659" y="2195"/>
                  </a:lnTo>
                  <a:lnTo>
                    <a:pt x="670" y="2200"/>
                  </a:lnTo>
                  <a:lnTo>
                    <a:pt x="680" y="2205"/>
                  </a:lnTo>
                  <a:lnTo>
                    <a:pt x="675" y="2219"/>
                  </a:lnTo>
                  <a:lnTo>
                    <a:pt x="668" y="2230"/>
                  </a:lnTo>
                  <a:lnTo>
                    <a:pt x="661" y="2241"/>
                  </a:lnTo>
                  <a:lnTo>
                    <a:pt x="653" y="2250"/>
                  </a:lnTo>
                  <a:lnTo>
                    <a:pt x="644" y="2258"/>
                  </a:lnTo>
                  <a:lnTo>
                    <a:pt x="633" y="2264"/>
                  </a:lnTo>
                  <a:lnTo>
                    <a:pt x="623" y="2270"/>
                  </a:lnTo>
                  <a:lnTo>
                    <a:pt x="610" y="2273"/>
                  </a:lnTo>
                  <a:lnTo>
                    <a:pt x="598" y="2277"/>
                  </a:lnTo>
                  <a:lnTo>
                    <a:pt x="586" y="2279"/>
                  </a:lnTo>
                  <a:lnTo>
                    <a:pt x="572" y="2281"/>
                  </a:lnTo>
                  <a:lnTo>
                    <a:pt x="559" y="2281"/>
                  </a:lnTo>
                  <a:lnTo>
                    <a:pt x="545" y="2281"/>
                  </a:lnTo>
                  <a:lnTo>
                    <a:pt x="530" y="2280"/>
                  </a:lnTo>
                  <a:lnTo>
                    <a:pt x="501" y="2277"/>
                  </a:lnTo>
                  <a:lnTo>
                    <a:pt x="470" y="2271"/>
                  </a:lnTo>
                  <a:lnTo>
                    <a:pt x="440" y="2264"/>
                  </a:lnTo>
                  <a:lnTo>
                    <a:pt x="380" y="2249"/>
                  </a:lnTo>
                  <a:lnTo>
                    <a:pt x="325" y="2233"/>
                  </a:lnTo>
                  <a:lnTo>
                    <a:pt x="301" y="2228"/>
                  </a:lnTo>
                  <a:lnTo>
                    <a:pt x="280" y="2223"/>
                  </a:lnTo>
                  <a:lnTo>
                    <a:pt x="280" y="2114"/>
                  </a:lnTo>
                  <a:lnTo>
                    <a:pt x="261" y="2105"/>
                  </a:lnTo>
                  <a:lnTo>
                    <a:pt x="243" y="2100"/>
                  </a:lnTo>
                  <a:lnTo>
                    <a:pt x="227" y="2096"/>
                  </a:lnTo>
                  <a:lnTo>
                    <a:pt x="211" y="2096"/>
                  </a:lnTo>
                  <a:lnTo>
                    <a:pt x="196" y="2097"/>
                  </a:lnTo>
                  <a:lnTo>
                    <a:pt x="181" y="2101"/>
                  </a:lnTo>
                  <a:lnTo>
                    <a:pt x="166" y="2105"/>
                  </a:lnTo>
                  <a:lnTo>
                    <a:pt x="152" y="2111"/>
                  </a:lnTo>
                  <a:lnTo>
                    <a:pt x="121" y="2122"/>
                  </a:lnTo>
                  <a:lnTo>
                    <a:pt x="104" y="2127"/>
                  </a:lnTo>
                  <a:lnTo>
                    <a:pt x="87" y="2132"/>
                  </a:lnTo>
                  <a:lnTo>
                    <a:pt x="69" y="2135"/>
                  </a:lnTo>
                  <a:lnTo>
                    <a:pt x="49" y="2136"/>
                  </a:lnTo>
                  <a:lnTo>
                    <a:pt x="29" y="2135"/>
                  </a:lnTo>
                  <a:lnTo>
                    <a:pt x="6" y="2132"/>
                  </a:lnTo>
                  <a:lnTo>
                    <a:pt x="3" y="2095"/>
                  </a:lnTo>
                  <a:lnTo>
                    <a:pt x="0" y="2058"/>
                  </a:lnTo>
                  <a:lnTo>
                    <a:pt x="2" y="2021"/>
                  </a:lnTo>
                  <a:lnTo>
                    <a:pt x="3" y="1984"/>
                  </a:lnTo>
                  <a:lnTo>
                    <a:pt x="6" y="1947"/>
                  </a:lnTo>
                  <a:lnTo>
                    <a:pt x="10" y="1910"/>
                  </a:lnTo>
                  <a:lnTo>
                    <a:pt x="16" y="1874"/>
                  </a:lnTo>
                  <a:lnTo>
                    <a:pt x="23" y="1837"/>
                  </a:lnTo>
                  <a:lnTo>
                    <a:pt x="31" y="1801"/>
                  </a:lnTo>
                  <a:lnTo>
                    <a:pt x="38" y="1765"/>
                  </a:lnTo>
                  <a:lnTo>
                    <a:pt x="56" y="1693"/>
                  </a:lnTo>
                  <a:lnTo>
                    <a:pt x="74" y="1622"/>
                  </a:lnTo>
                  <a:lnTo>
                    <a:pt x="92" y="1552"/>
                  </a:lnTo>
                  <a:lnTo>
                    <a:pt x="106" y="1484"/>
                  </a:lnTo>
                  <a:lnTo>
                    <a:pt x="113" y="1451"/>
                  </a:lnTo>
                  <a:lnTo>
                    <a:pt x="118" y="1418"/>
                  </a:lnTo>
                  <a:lnTo>
                    <a:pt x="123" y="1385"/>
                  </a:lnTo>
                  <a:lnTo>
                    <a:pt x="125" y="1352"/>
                  </a:lnTo>
                  <a:lnTo>
                    <a:pt x="127" y="1321"/>
                  </a:lnTo>
                  <a:lnTo>
                    <a:pt x="126" y="1288"/>
                  </a:lnTo>
                  <a:lnTo>
                    <a:pt x="124" y="1258"/>
                  </a:lnTo>
                  <a:lnTo>
                    <a:pt x="121" y="1227"/>
                  </a:lnTo>
                  <a:lnTo>
                    <a:pt x="114" y="1197"/>
                  </a:lnTo>
                  <a:lnTo>
                    <a:pt x="105" y="1168"/>
                  </a:lnTo>
                  <a:lnTo>
                    <a:pt x="100" y="1154"/>
                  </a:lnTo>
                  <a:lnTo>
                    <a:pt x="94" y="1139"/>
                  </a:lnTo>
                  <a:lnTo>
                    <a:pt x="87" y="1125"/>
                  </a:lnTo>
                  <a:lnTo>
                    <a:pt x="79" y="1112"/>
                  </a:lnTo>
                  <a:lnTo>
                    <a:pt x="72" y="1097"/>
                  </a:lnTo>
                  <a:lnTo>
                    <a:pt x="63" y="1084"/>
                  </a:lnTo>
                  <a:lnTo>
                    <a:pt x="53" y="1070"/>
                  </a:lnTo>
                  <a:lnTo>
                    <a:pt x="43" y="1057"/>
                  </a:lnTo>
                  <a:lnTo>
                    <a:pt x="51" y="1025"/>
                  </a:lnTo>
                  <a:lnTo>
                    <a:pt x="56" y="991"/>
                  </a:lnTo>
                  <a:lnTo>
                    <a:pt x="61" y="957"/>
                  </a:lnTo>
                  <a:lnTo>
                    <a:pt x="65" y="921"/>
                  </a:lnTo>
                  <a:lnTo>
                    <a:pt x="67" y="886"/>
                  </a:lnTo>
                  <a:lnTo>
                    <a:pt x="69" y="848"/>
                  </a:lnTo>
                  <a:lnTo>
                    <a:pt x="72" y="772"/>
                  </a:lnTo>
                  <a:lnTo>
                    <a:pt x="73" y="694"/>
                  </a:lnTo>
                  <a:lnTo>
                    <a:pt x="73" y="615"/>
                  </a:lnTo>
                  <a:lnTo>
                    <a:pt x="73" y="537"/>
                  </a:lnTo>
                  <a:lnTo>
                    <a:pt x="74" y="459"/>
                  </a:lnTo>
                  <a:lnTo>
                    <a:pt x="76" y="422"/>
                  </a:lnTo>
                  <a:lnTo>
                    <a:pt x="77" y="385"/>
                  </a:lnTo>
                  <a:lnTo>
                    <a:pt x="81" y="348"/>
                  </a:lnTo>
                  <a:lnTo>
                    <a:pt x="84" y="313"/>
                  </a:lnTo>
                  <a:lnTo>
                    <a:pt x="89" y="278"/>
                  </a:lnTo>
                  <a:lnTo>
                    <a:pt x="95" y="245"/>
                  </a:lnTo>
                  <a:lnTo>
                    <a:pt x="102" y="212"/>
                  </a:lnTo>
                  <a:lnTo>
                    <a:pt x="111" y="182"/>
                  </a:lnTo>
                  <a:lnTo>
                    <a:pt x="121" y="152"/>
                  </a:lnTo>
                  <a:lnTo>
                    <a:pt x="133" y="125"/>
                  </a:lnTo>
                  <a:lnTo>
                    <a:pt x="146" y="99"/>
                  </a:lnTo>
                  <a:lnTo>
                    <a:pt x="153" y="87"/>
                  </a:lnTo>
                  <a:lnTo>
                    <a:pt x="161" y="76"/>
                  </a:lnTo>
                  <a:lnTo>
                    <a:pt x="170" y="63"/>
                  </a:lnTo>
                  <a:lnTo>
                    <a:pt x="179" y="53"/>
                  </a:lnTo>
                  <a:lnTo>
                    <a:pt x="187" y="43"/>
                  </a:lnTo>
                  <a:lnTo>
                    <a:pt x="197" y="33"/>
                  </a:lnTo>
                  <a:lnTo>
                    <a:pt x="209" y="24"/>
                  </a:lnTo>
                  <a:lnTo>
                    <a:pt x="220" y="16"/>
                  </a:lnTo>
                  <a:lnTo>
                    <a:pt x="231" y="8"/>
                  </a:lnTo>
                  <a:lnTo>
                    <a:pt x="243" y="0"/>
                  </a:lnTo>
                  <a:lnTo>
                    <a:pt x="256" y="4"/>
                  </a:lnTo>
                  <a:lnTo>
                    <a:pt x="269" y="9"/>
                  </a:lnTo>
                  <a:lnTo>
                    <a:pt x="280" y="14"/>
                  </a:lnTo>
                  <a:lnTo>
                    <a:pt x="291" y="21"/>
                  </a:lnTo>
                  <a:lnTo>
                    <a:pt x="301" y="28"/>
                  </a:lnTo>
                  <a:lnTo>
                    <a:pt x="310" y="36"/>
                  </a:lnTo>
                  <a:lnTo>
                    <a:pt x="328" y="52"/>
                  </a:lnTo>
                  <a:lnTo>
                    <a:pt x="343" y="71"/>
                  </a:lnTo>
                  <a:lnTo>
                    <a:pt x="359" y="90"/>
                  </a:lnTo>
                  <a:lnTo>
                    <a:pt x="373" y="109"/>
                  </a:lnTo>
                  <a:lnTo>
                    <a:pt x="389" y="128"/>
                  </a:lnTo>
                  <a:close/>
                  <a:moveTo>
                    <a:pt x="1428" y="383"/>
                  </a:moveTo>
                  <a:lnTo>
                    <a:pt x="1428" y="383"/>
                  </a:lnTo>
                  <a:lnTo>
                    <a:pt x="1426" y="374"/>
                  </a:lnTo>
                  <a:lnTo>
                    <a:pt x="1426" y="366"/>
                  </a:lnTo>
                  <a:lnTo>
                    <a:pt x="1426" y="349"/>
                  </a:lnTo>
                  <a:lnTo>
                    <a:pt x="1428" y="334"/>
                  </a:lnTo>
                  <a:lnTo>
                    <a:pt x="1433" y="318"/>
                  </a:lnTo>
                  <a:lnTo>
                    <a:pt x="1438" y="304"/>
                  </a:lnTo>
                  <a:lnTo>
                    <a:pt x="1445" y="290"/>
                  </a:lnTo>
                  <a:lnTo>
                    <a:pt x="1458" y="264"/>
                  </a:lnTo>
                  <a:lnTo>
                    <a:pt x="1465" y="250"/>
                  </a:lnTo>
                  <a:lnTo>
                    <a:pt x="1470" y="238"/>
                  </a:lnTo>
                  <a:lnTo>
                    <a:pt x="1475" y="226"/>
                  </a:lnTo>
                  <a:lnTo>
                    <a:pt x="1478" y="214"/>
                  </a:lnTo>
                  <a:lnTo>
                    <a:pt x="1479" y="201"/>
                  </a:lnTo>
                  <a:lnTo>
                    <a:pt x="1478" y="195"/>
                  </a:lnTo>
                  <a:lnTo>
                    <a:pt x="1477" y="189"/>
                  </a:lnTo>
                  <a:lnTo>
                    <a:pt x="1475" y="182"/>
                  </a:lnTo>
                  <a:lnTo>
                    <a:pt x="1473" y="177"/>
                  </a:lnTo>
                  <a:lnTo>
                    <a:pt x="1469" y="170"/>
                  </a:lnTo>
                  <a:lnTo>
                    <a:pt x="1464" y="163"/>
                  </a:lnTo>
                  <a:lnTo>
                    <a:pt x="1440" y="209"/>
                  </a:lnTo>
                  <a:lnTo>
                    <a:pt x="1427" y="237"/>
                  </a:lnTo>
                  <a:lnTo>
                    <a:pt x="1422" y="251"/>
                  </a:lnTo>
                  <a:lnTo>
                    <a:pt x="1416" y="266"/>
                  </a:lnTo>
                  <a:lnTo>
                    <a:pt x="1411" y="281"/>
                  </a:lnTo>
                  <a:lnTo>
                    <a:pt x="1408" y="296"/>
                  </a:lnTo>
                  <a:lnTo>
                    <a:pt x="1407" y="311"/>
                  </a:lnTo>
                  <a:lnTo>
                    <a:pt x="1407" y="326"/>
                  </a:lnTo>
                  <a:lnTo>
                    <a:pt x="1408" y="342"/>
                  </a:lnTo>
                  <a:lnTo>
                    <a:pt x="1413" y="356"/>
                  </a:lnTo>
                  <a:lnTo>
                    <a:pt x="1419" y="369"/>
                  </a:lnTo>
                  <a:lnTo>
                    <a:pt x="1423" y="376"/>
                  </a:lnTo>
                  <a:lnTo>
                    <a:pt x="1428" y="383"/>
                  </a:lnTo>
                  <a:close/>
                  <a:moveTo>
                    <a:pt x="262" y="2005"/>
                  </a:moveTo>
                  <a:lnTo>
                    <a:pt x="262" y="2005"/>
                  </a:lnTo>
                  <a:lnTo>
                    <a:pt x="259" y="2002"/>
                  </a:lnTo>
                  <a:lnTo>
                    <a:pt x="256" y="1997"/>
                  </a:lnTo>
                  <a:lnTo>
                    <a:pt x="252" y="1987"/>
                  </a:lnTo>
                  <a:lnTo>
                    <a:pt x="249" y="1974"/>
                  </a:lnTo>
                  <a:lnTo>
                    <a:pt x="246" y="1959"/>
                  </a:lnTo>
                  <a:lnTo>
                    <a:pt x="245" y="1943"/>
                  </a:lnTo>
                  <a:lnTo>
                    <a:pt x="245" y="1925"/>
                  </a:lnTo>
                  <a:lnTo>
                    <a:pt x="244" y="1889"/>
                  </a:lnTo>
                  <a:lnTo>
                    <a:pt x="244" y="1857"/>
                  </a:lnTo>
                  <a:lnTo>
                    <a:pt x="243" y="1844"/>
                  </a:lnTo>
                  <a:lnTo>
                    <a:pt x="242" y="1831"/>
                  </a:lnTo>
                  <a:lnTo>
                    <a:pt x="240" y="1824"/>
                  </a:lnTo>
                  <a:lnTo>
                    <a:pt x="237" y="1820"/>
                  </a:lnTo>
                  <a:lnTo>
                    <a:pt x="236" y="1819"/>
                  </a:lnTo>
                  <a:lnTo>
                    <a:pt x="234" y="1818"/>
                  </a:lnTo>
                  <a:lnTo>
                    <a:pt x="231" y="1818"/>
                  </a:lnTo>
                  <a:lnTo>
                    <a:pt x="229" y="1819"/>
                  </a:lnTo>
                  <a:lnTo>
                    <a:pt x="225" y="1823"/>
                  </a:lnTo>
                  <a:lnTo>
                    <a:pt x="222" y="1851"/>
                  </a:lnTo>
                  <a:lnTo>
                    <a:pt x="219" y="1879"/>
                  </a:lnTo>
                  <a:lnTo>
                    <a:pt x="216" y="1906"/>
                  </a:lnTo>
                  <a:lnTo>
                    <a:pt x="215" y="1918"/>
                  </a:lnTo>
                  <a:lnTo>
                    <a:pt x="215" y="1929"/>
                  </a:lnTo>
                  <a:lnTo>
                    <a:pt x="216" y="1941"/>
                  </a:lnTo>
                  <a:lnTo>
                    <a:pt x="219" y="1952"/>
                  </a:lnTo>
                  <a:lnTo>
                    <a:pt x="222" y="1962"/>
                  </a:lnTo>
                  <a:lnTo>
                    <a:pt x="226" y="1972"/>
                  </a:lnTo>
                  <a:lnTo>
                    <a:pt x="232" y="1981"/>
                  </a:lnTo>
                  <a:lnTo>
                    <a:pt x="240" y="1989"/>
                  </a:lnTo>
                  <a:lnTo>
                    <a:pt x="250" y="1997"/>
                  </a:lnTo>
                  <a:lnTo>
                    <a:pt x="262" y="2005"/>
                  </a:lnTo>
                  <a:close/>
                </a:path>
              </a:pathLst>
            </a:custGeom>
            <a:grpFill/>
            <a:ln w="9525">
              <a:noFill/>
              <a:round/>
              <a:headEnd/>
              <a:tailEnd/>
            </a:ln>
            <a:effectLst>
              <a:outerShdw blurRad="50800" dist="38100" dir="2700000">
                <a:srgbClr val="000000">
                  <a:alpha val="43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Arial" charset="0"/>
              </a:endParaRPr>
            </a:p>
          </p:txBody>
        </p:sp>
      </p:grpSp>
      <p:sp>
        <p:nvSpPr>
          <p:cNvPr id="39" name="Rektangel 20"/>
          <p:cNvSpPr>
            <a:spLocks noChangeArrowheads="1"/>
          </p:cNvSpPr>
          <p:nvPr/>
        </p:nvSpPr>
        <p:spPr bwMode="auto">
          <a:xfrm>
            <a:off x="1900238" y="5707063"/>
            <a:ext cx="130016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801688" rtl="0" eaLnBrk="1" fontAlgn="base" latinLnBrk="0" hangingPunct="1">
              <a:lnSpc>
                <a:spcPct val="100000"/>
              </a:lnSpc>
              <a:spcBef>
                <a:spcPct val="20000"/>
              </a:spcBef>
              <a:spcAft>
                <a:spcPct val="0"/>
              </a:spcAft>
              <a:buClrTx/>
              <a:buSzTx/>
              <a:buFontTx/>
              <a:buNone/>
              <a:tabLst/>
              <a:defRPr/>
            </a:pPr>
            <a:r>
              <a:rPr kumimoji="0" lang="en-IN" sz="1600" b="1" i="0" u="none" strike="noStrike" kern="1200" cap="none" spc="0" normalizeH="0" baseline="0" noProof="1">
                <a:ln>
                  <a:noFill/>
                </a:ln>
                <a:solidFill>
                  <a:srgbClr val="080808"/>
                </a:solidFill>
                <a:effectLst/>
                <a:uLnTx/>
                <a:uFillTx/>
                <a:latin typeface="Calibri" pitchFamily="34" charset="0"/>
                <a:ea typeface="+mn-ea"/>
                <a:cs typeface="Arial" pitchFamily="34" charset="0"/>
              </a:rPr>
              <a:t>Be confident but not arrogant</a:t>
            </a:r>
          </a:p>
        </p:txBody>
      </p:sp>
      <p:sp>
        <p:nvSpPr>
          <p:cNvPr id="40" name="Rektangel 20"/>
          <p:cNvSpPr>
            <a:spLocks noChangeArrowheads="1"/>
          </p:cNvSpPr>
          <p:nvPr/>
        </p:nvSpPr>
        <p:spPr bwMode="auto">
          <a:xfrm>
            <a:off x="3143250" y="5707063"/>
            <a:ext cx="130016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801688" rtl="0" eaLnBrk="1" fontAlgn="base" latinLnBrk="0" hangingPunct="1">
              <a:lnSpc>
                <a:spcPct val="100000"/>
              </a:lnSpc>
              <a:spcBef>
                <a:spcPct val="20000"/>
              </a:spcBef>
              <a:spcAft>
                <a:spcPct val="0"/>
              </a:spcAft>
              <a:buClrTx/>
              <a:buSzTx/>
              <a:buFontTx/>
              <a:buNone/>
              <a:tabLst/>
              <a:defRPr/>
            </a:pPr>
            <a:r>
              <a:rPr kumimoji="0" lang="en-IN" sz="1600" b="1" i="0" u="none" strike="noStrike" kern="1200" cap="none" spc="0" normalizeH="0" baseline="0" noProof="1">
                <a:ln>
                  <a:noFill/>
                </a:ln>
                <a:solidFill>
                  <a:srgbClr val="080808"/>
                </a:solidFill>
                <a:effectLst/>
                <a:uLnTx/>
                <a:uFillTx/>
                <a:latin typeface="Calibri" pitchFamily="34" charset="0"/>
                <a:ea typeface="+mn-ea"/>
                <a:cs typeface="Arial" pitchFamily="34" charset="0"/>
              </a:rPr>
              <a:t>Think before you Speak</a:t>
            </a:r>
            <a:endParaRPr kumimoji="0" lang="en-IN" sz="1600" b="0" i="0" u="none" strike="noStrike" kern="1200" cap="none" spc="0" normalizeH="0" baseline="0" noProof="1">
              <a:ln>
                <a:noFill/>
              </a:ln>
              <a:solidFill>
                <a:srgbClr val="080808"/>
              </a:solidFill>
              <a:effectLst/>
              <a:uLnTx/>
              <a:uFillTx/>
              <a:latin typeface="Calibri" pitchFamily="34" charset="0"/>
              <a:ea typeface="+mn-ea"/>
              <a:cs typeface="Arial" pitchFamily="34" charset="0"/>
            </a:endParaRPr>
          </a:p>
        </p:txBody>
      </p:sp>
      <p:sp>
        <p:nvSpPr>
          <p:cNvPr id="41" name="Rektangel 20"/>
          <p:cNvSpPr>
            <a:spLocks noChangeArrowheads="1"/>
          </p:cNvSpPr>
          <p:nvPr/>
        </p:nvSpPr>
        <p:spPr bwMode="auto">
          <a:xfrm>
            <a:off x="4972050" y="5202238"/>
            <a:ext cx="130016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801688" rtl="0" eaLnBrk="1" fontAlgn="base" latinLnBrk="0" hangingPunct="1">
              <a:lnSpc>
                <a:spcPct val="100000"/>
              </a:lnSpc>
              <a:spcBef>
                <a:spcPct val="20000"/>
              </a:spcBef>
              <a:spcAft>
                <a:spcPct val="0"/>
              </a:spcAft>
              <a:buClrTx/>
              <a:buSzTx/>
              <a:buFontTx/>
              <a:buNone/>
              <a:tabLst/>
              <a:defRPr/>
            </a:pPr>
            <a:r>
              <a:rPr kumimoji="0" lang="en-IN" sz="1600" b="1" i="0" u="none" strike="noStrike" kern="1200" cap="none" spc="0" normalizeH="0" baseline="0" noProof="1">
                <a:ln>
                  <a:noFill/>
                </a:ln>
                <a:solidFill>
                  <a:srgbClr val="080808"/>
                </a:solidFill>
                <a:effectLst/>
                <a:uLnTx/>
                <a:uFillTx/>
                <a:latin typeface="Calibri" pitchFamily="34" charset="0"/>
                <a:ea typeface="+mn-ea"/>
                <a:cs typeface="Arial" pitchFamily="34" charset="0"/>
              </a:rPr>
              <a:t>Know when to Shut Up</a:t>
            </a:r>
            <a:endParaRPr kumimoji="0" lang="en-IN" sz="1600" b="0" i="0" u="none" strike="noStrike" kern="1200" cap="none" spc="0" normalizeH="0" baseline="0" noProof="1">
              <a:ln>
                <a:noFill/>
              </a:ln>
              <a:solidFill>
                <a:srgbClr val="080808"/>
              </a:solidFill>
              <a:effectLst/>
              <a:uLnTx/>
              <a:uFillTx/>
              <a:latin typeface="Calibri" pitchFamily="34" charset="0"/>
              <a:ea typeface="+mn-ea"/>
              <a:cs typeface="Arial" pitchFamily="34" charset="0"/>
            </a:endParaRPr>
          </a:p>
        </p:txBody>
      </p:sp>
      <p:sp>
        <p:nvSpPr>
          <p:cNvPr id="42" name="Rektangel 20"/>
          <p:cNvSpPr>
            <a:spLocks noChangeArrowheads="1"/>
          </p:cNvSpPr>
          <p:nvPr/>
        </p:nvSpPr>
        <p:spPr bwMode="auto">
          <a:xfrm>
            <a:off x="4850633" y="3690938"/>
            <a:ext cx="170256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801688" rtl="0" eaLnBrk="1" fontAlgn="base" latinLnBrk="0" hangingPunct="1">
              <a:lnSpc>
                <a:spcPct val="100000"/>
              </a:lnSpc>
              <a:spcBef>
                <a:spcPct val="20000"/>
              </a:spcBef>
              <a:spcAft>
                <a:spcPct val="0"/>
              </a:spcAft>
              <a:buClrTx/>
              <a:buSzTx/>
              <a:buFontTx/>
              <a:buNone/>
              <a:tabLst/>
              <a:defRPr/>
            </a:pPr>
            <a:r>
              <a:rPr kumimoji="0" lang="en-IN" sz="1600" b="1" i="0" u="none" strike="noStrike" kern="1200" cap="none" spc="0" normalizeH="0" baseline="0" noProof="1">
                <a:ln>
                  <a:noFill/>
                </a:ln>
                <a:solidFill>
                  <a:srgbClr val="080808"/>
                </a:solidFill>
                <a:effectLst/>
                <a:uLnTx/>
                <a:uFillTx/>
                <a:latin typeface="Calibri" pitchFamily="34" charset="0"/>
                <a:ea typeface="+mn-ea"/>
                <a:cs typeface="Arial" pitchFamily="34" charset="0"/>
              </a:rPr>
              <a:t>Lastly, keep calm through the process</a:t>
            </a:r>
            <a:endParaRPr kumimoji="0" lang="en-IN" sz="1600" b="0" i="0" u="none" strike="noStrike" kern="1200" cap="none" spc="0" normalizeH="0" baseline="0" noProof="1">
              <a:ln>
                <a:noFill/>
              </a:ln>
              <a:solidFill>
                <a:srgbClr val="080808"/>
              </a:solidFill>
              <a:effectLst/>
              <a:uLnTx/>
              <a:uFillTx/>
              <a:latin typeface="Calibri" pitchFamily="34" charset="0"/>
              <a:ea typeface="+mn-ea"/>
              <a:cs typeface="Arial" pitchFamily="34" charset="0"/>
            </a:endParaRPr>
          </a:p>
        </p:txBody>
      </p:sp>
      <p:sp>
        <p:nvSpPr>
          <p:cNvPr id="32781" name="TextBox 22"/>
          <p:cNvSpPr txBox="1">
            <a:spLocks noChangeArrowheads="1"/>
          </p:cNvSpPr>
          <p:nvPr/>
        </p:nvSpPr>
        <p:spPr bwMode="auto">
          <a:xfrm>
            <a:off x="685800" y="1905000"/>
            <a:ext cx="409657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a:ea typeface="+mn-ea"/>
                <a:cs typeface="Arial" pitchFamily="34" charset="0"/>
              </a:rPr>
              <a:t>Common Questions Asked</a:t>
            </a:r>
          </a:p>
        </p:txBody>
      </p:sp>
      <p:sp>
        <p:nvSpPr>
          <p:cNvPr id="32782" name="Rectangle 43"/>
          <p:cNvSpPr>
            <a:spLocks noChangeArrowheads="1"/>
          </p:cNvSpPr>
          <p:nvPr/>
        </p:nvSpPr>
        <p:spPr bwMode="auto">
          <a:xfrm>
            <a:off x="685800" y="2373313"/>
            <a:ext cx="45720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Arial" pitchFamily="34" charset="0"/>
              </a:rPr>
              <a:t>While answering questions, remember…</a:t>
            </a:r>
          </a:p>
        </p:txBody>
      </p:sp>
      <p:pic>
        <p:nvPicPr>
          <p:cNvPr id="29" name="Picture 28">
            <a:extLst>
              <a:ext uri="{FF2B5EF4-FFF2-40B4-BE49-F238E27FC236}">
                <a16:creationId xmlns:a16="http://schemas.microsoft.com/office/drawing/2014/main" id="{4DD1734C-F3D1-4E8B-9E4F-1EEFC36A933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17722" y="44624"/>
            <a:ext cx="1604791" cy="1479376"/>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p14:dur="10" advClick="0" advTm="21000">
        <p:fade/>
      </p:transition>
    </mc:Choice>
    <mc:Fallback xmlns="">
      <p:transition advClick="0" advTm="21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fill="hold" nodeType="afterEffect">
                                  <p:stCondLst>
                                    <p:cond delay="2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0" presetClass="path" presetSubtype="0" accel="50000" decel="50000" fill="hold" nodeType="withEffect">
                                  <p:stCondLst>
                                    <p:cond delay="0"/>
                                  </p:stCondLst>
                                  <p:childTnLst>
                                    <p:animMotion origin="layout" path="M -0.19462 -0.08264 L 1.94444E-6 3.7037E-7 " pathEditMode="relative" rAng="0" ptsTypes="AA">
                                      <p:cBhvr>
                                        <p:cTn id="9" dur="1000" fill="hold"/>
                                        <p:tgtEl>
                                          <p:spTgt spid="4"/>
                                        </p:tgtEl>
                                        <p:attrNameLst>
                                          <p:attrName>ppt_x</p:attrName>
                                          <p:attrName>ppt_y</p:attrName>
                                        </p:attrNameLst>
                                      </p:cBhvr>
                                      <p:rCtr x="9722" y="4120"/>
                                    </p:animMotion>
                                  </p:childTnLst>
                                </p:cTn>
                              </p:par>
                              <p:par>
                                <p:cTn id="10" presetID="10" presetClass="entr" presetSubtype="0" fill="hold" nodeType="withEffect">
                                  <p:stCondLst>
                                    <p:cond delay="20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0" presetClass="path" presetSubtype="0" accel="50000" decel="50000" fill="hold" nodeType="withEffect">
                                  <p:stCondLst>
                                    <p:cond delay="200"/>
                                  </p:stCondLst>
                                  <p:childTnLst>
                                    <p:animMotion origin="layout" path="M 0.19687 -4.07407E-6 L 2.5E-6 -4.07407E-6 " pathEditMode="relative" ptsTypes="AA">
                                      <p:cBhvr>
                                        <p:cTn id="14" dur="2000" fill="hold"/>
                                        <p:tgtEl>
                                          <p:spTgt spid="3"/>
                                        </p:tgtEl>
                                        <p:attrNameLst>
                                          <p:attrName>ppt_x</p:attrName>
                                          <p:attrName>ppt_y</p:attrName>
                                        </p:attrNameLst>
                                      </p:cBhvr>
                                    </p:animMotion>
                                  </p:childTnLst>
                                </p:cTn>
                              </p:par>
                              <p:par>
                                <p:cTn id="15" presetID="10" presetClass="entr" presetSubtype="0" fill="hold" nodeType="withEffect">
                                  <p:stCondLst>
                                    <p:cond delay="40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par>
                                <p:cTn id="18" presetID="0" presetClass="path" presetSubtype="0" accel="50000" decel="50000" fill="hold" nodeType="withEffect">
                                  <p:stCondLst>
                                    <p:cond delay="400"/>
                                  </p:stCondLst>
                                  <p:childTnLst>
                                    <p:animMotion origin="layout" path="M 0.03472 -0.13519 C 0.0882 -0.12431 0.14184 -0.1132 0.13611 -0.09075 C 0.13038 -0.06829 0.06511 -0.03427 -2.22222E-6 -5.55556E-6 " pathEditMode="relative" ptsTypes="aaA">
                                      <p:cBhvr>
                                        <p:cTn id="19" dur="2000" fill="hold"/>
                                        <p:tgtEl>
                                          <p:spTgt spid="2"/>
                                        </p:tgtEl>
                                        <p:attrNameLst>
                                          <p:attrName>ppt_x</p:attrName>
                                          <p:attrName>ppt_y</p:attrName>
                                        </p:attrNameLst>
                                      </p:cBhvr>
                                    </p:animMotion>
                                  </p:childTnLst>
                                </p:cTn>
                              </p:par>
                            </p:childTnLst>
                          </p:cTn>
                        </p:par>
                        <p:par>
                          <p:cTn id="20" fill="hold" nodeType="afterGroup">
                            <p:stCondLst>
                              <p:cond delay="2400"/>
                            </p:stCondLst>
                            <p:childTnLst>
                              <p:par>
                                <p:cTn id="21" presetID="2" presetClass="entr" presetSubtype="1" decel="50000" fill="hold" nodeType="after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1000" fill="hold"/>
                                        <p:tgtEl>
                                          <p:spTgt spid="5"/>
                                        </p:tgtEl>
                                        <p:attrNameLst>
                                          <p:attrName>ppt_x</p:attrName>
                                        </p:attrNameLst>
                                      </p:cBhvr>
                                      <p:tavLst>
                                        <p:tav tm="0">
                                          <p:val>
                                            <p:strVal val="#ppt_x"/>
                                          </p:val>
                                        </p:tav>
                                        <p:tav tm="100000">
                                          <p:val>
                                            <p:strVal val="#ppt_x"/>
                                          </p:val>
                                        </p:tav>
                                      </p:tavLst>
                                    </p:anim>
                                    <p:anim calcmode="lin" valueType="num">
                                      <p:cBhvr additive="base">
                                        <p:cTn id="24" dur="1000" fill="hold"/>
                                        <p:tgtEl>
                                          <p:spTgt spid="5"/>
                                        </p:tgtEl>
                                        <p:attrNameLst>
                                          <p:attrName>ppt_y</p:attrName>
                                        </p:attrNameLst>
                                      </p:cBhvr>
                                      <p:tavLst>
                                        <p:tav tm="0">
                                          <p:val>
                                            <p:strVal val="0-#ppt_h/2"/>
                                          </p:val>
                                        </p:tav>
                                        <p:tav tm="100000">
                                          <p:val>
                                            <p:strVal val="#ppt_y"/>
                                          </p:val>
                                        </p:tav>
                                      </p:tavLst>
                                    </p:anim>
                                  </p:childTnLst>
                                </p:cTn>
                              </p:par>
                              <p:par>
                                <p:cTn id="25" presetID="23" presetClass="entr" presetSubtype="16" fill="hold" nodeType="with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p:cTn id="27" dur="1000" fill="hold"/>
                                        <p:tgtEl>
                                          <p:spTgt spid="5"/>
                                        </p:tgtEl>
                                        <p:attrNameLst>
                                          <p:attrName>ppt_w</p:attrName>
                                        </p:attrNameLst>
                                      </p:cBhvr>
                                      <p:tavLst>
                                        <p:tav tm="0">
                                          <p:val>
                                            <p:fltVal val="0"/>
                                          </p:val>
                                        </p:tav>
                                        <p:tav tm="100000">
                                          <p:val>
                                            <p:strVal val="#ppt_w"/>
                                          </p:val>
                                        </p:tav>
                                      </p:tavLst>
                                    </p:anim>
                                    <p:anim calcmode="lin" valueType="num">
                                      <p:cBhvr>
                                        <p:cTn id="28" dur="1000" fill="hold"/>
                                        <p:tgtEl>
                                          <p:spTgt spid="5"/>
                                        </p:tgtEl>
                                        <p:attrNameLst>
                                          <p:attrName>ppt_h</p:attrName>
                                        </p:attrNameLst>
                                      </p:cBhvr>
                                      <p:tavLst>
                                        <p:tav tm="0">
                                          <p:val>
                                            <p:fltVal val="0"/>
                                          </p:val>
                                        </p:tav>
                                        <p:tav tm="100000">
                                          <p:val>
                                            <p:strVal val="#ppt_h"/>
                                          </p:val>
                                        </p:tav>
                                      </p:tavLst>
                                    </p:anim>
                                  </p:childTnLst>
                                </p:cTn>
                              </p:par>
                            </p:childTnLst>
                          </p:cTn>
                        </p:par>
                        <p:par>
                          <p:cTn id="29" fill="hold" nodeType="afterGroup">
                            <p:stCondLst>
                              <p:cond delay="3400"/>
                            </p:stCondLst>
                            <p:childTnLst>
                              <p:par>
                                <p:cTn id="30" presetID="12" presetClass="entr" presetSubtype="1" fill="hold" grpId="0" nodeType="afterEffect">
                                  <p:stCondLst>
                                    <p:cond delay="500"/>
                                  </p:stCondLst>
                                  <p:childTnLst>
                                    <p:set>
                                      <p:cBhvr>
                                        <p:cTn id="31" dur="1" fill="hold">
                                          <p:stCondLst>
                                            <p:cond delay="0"/>
                                          </p:stCondLst>
                                        </p:cTn>
                                        <p:tgtEl>
                                          <p:spTgt spid="22"/>
                                        </p:tgtEl>
                                        <p:attrNameLst>
                                          <p:attrName>style.visibility</p:attrName>
                                        </p:attrNameLst>
                                      </p:cBhvr>
                                      <p:to>
                                        <p:strVal val="visible"/>
                                      </p:to>
                                    </p:set>
                                    <p:anim calcmode="lin" valueType="num">
                                      <p:cBhvr additive="base">
                                        <p:cTn id="32" dur="1000"/>
                                        <p:tgtEl>
                                          <p:spTgt spid="22"/>
                                        </p:tgtEl>
                                        <p:attrNameLst>
                                          <p:attrName>ppt_y</p:attrName>
                                        </p:attrNameLst>
                                      </p:cBhvr>
                                      <p:tavLst>
                                        <p:tav tm="0">
                                          <p:val>
                                            <p:strVal val="#ppt_y-#ppt_h*1.125000"/>
                                          </p:val>
                                        </p:tav>
                                        <p:tav tm="100000">
                                          <p:val>
                                            <p:strVal val="#ppt_y"/>
                                          </p:val>
                                        </p:tav>
                                      </p:tavLst>
                                    </p:anim>
                                    <p:animEffect transition="in" filter="wipe(down)">
                                      <p:cBhvr>
                                        <p:cTn id="33" dur="1000"/>
                                        <p:tgtEl>
                                          <p:spTgt spid="22"/>
                                        </p:tgtEl>
                                      </p:cBhvr>
                                    </p:animEffect>
                                  </p:childTnLst>
                                </p:cTn>
                              </p:par>
                            </p:childTnLst>
                          </p:cTn>
                        </p:par>
                        <p:par>
                          <p:cTn id="34" fill="hold" nodeType="afterGroup">
                            <p:stCondLst>
                              <p:cond delay="4900"/>
                            </p:stCondLst>
                            <p:childTnLst>
                              <p:par>
                                <p:cTn id="35" presetID="12" presetClass="entr" presetSubtype="1" fill="hold" grpId="0" nodeType="afterEffect">
                                  <p:stCondLst>
                                    <p:cond delay="2000"/>
                                  </p:stCondLst>
                                  <p:childTnLst>
                                    <p:set>
                                      <p:cBhvr>
                                        <p:cTn id="36" dur="1" fill="hold">
                                          <p:stCondLst>
                                            <p:cond delay="0"/>
                                          </p:stCondLst>
                                        </p:cTn>
                                        <p:tgtEl>
                                          <p:spTgt spid="39"/>
                                        </p:tgtEl>
                                        <p:attrNameLst>
                                          <p:attrName>style.visibility</p:attrName>
                                        </p:attrNameLst>
                                      </p:cBhvr>
                                      <p:to>
                                        <p:strVal val="visible"/>
                                      </p:to>
                                    </p:set>
                                    <p:anim calcmode="lin" valueType="num">
                                      <p:cBhvr additive="base">
                                        <p:cTn id="37" dur="1000"/>
                                        <p:tgtEl>
                                          <p:spTgt spid="39"/>
                                        </p:tgtEl>
                                        <p:attrNameLst>
                                          <p:attrName>ppt_y</p:attrName>
                                        </p:attrNameLst>
                                      </p:cBhvr>
                                      <p:tavLst>
                                        <p:tav tm="0">
                                          <p:val>
                                            <p:strVal val="#ppt_y-#ppt_h*1.125000"/>
                                          </p:val>
                                        </p:tav>
                                        <p:tav tm="100000">
                                          <p:val>
                                            <p:strVal val="#ppt_y"/>
                                          </p:val>
                                        </p:tav>
                                      </p:tavLst>
                                    </p:anim>
                                    <p:animEffect transition="in" filter="wipe(down)">
                                      <p:cBhvr>
                                        <p:cTn id="38" dur="1000"/>
                                        <p:tgtEl>
                                          <p:spTgt spid="39"/>
                                        </p:tgtEl>
                                      </p:cBhvr>
                                    </p:animEffect>
                                  </p:childTnLst>
                                </p:cTn>
                              </p:par>
                            </p:childTnLst>
                          </p:cTn>
                        </p:par>
                        <p:par>
                          <p:cTn id="39" fill="hold" nodeType="afterGroup">
                            <p:stCondLst>
                              <p:cond delay="7900"/>
                            </p:stCondLst>
                            <p:childTnLst>
                              <p:par>
                                <p:cTn id="40" presetID="12" presetClass="entr" presetSubtype="1" fill="hold" grpId="0" nodeType="afterEffect">
                                  <p:stCondLst>
                                    <p:cond delay="2000"/>
                                  </p:stCondLst>
                                  <p:childTnLst>
                                    <p:set>
                                      <p:cBhvr>
                                        <p:cTn id="41" dur="1" fill="hold">
                                          <p:stCondLst>
                                            <p:cond delay="0"/>
                                          </p:stCondLst>
                                        </p:cTn>
                                        <p:tgtEl>
                                          <p:spTgt spid="40"/>
                                        </p:tgtEl>
                                        <p:attrNameLst>
                                          <p:attrName>style.visibility</p:attrName>
                                        </p:attrNameLst>
                                      </p:cBhvr>
                                      <p:to>
                                        <p:strVal val="visible"/>
                                      </p:to>
                                    </p:set>
                                    <p:anim calcmode="lin" valueType="num">
                                      <p:cBhvr additive="base">
                                        <p:cTn id="42" dur="1000"/>
                                        <p:tgtEl>
                                          <p:spTgt spid="40"/>
                                        </p:tgtEl>
                                        <p:attrNameLst>
                                          <p:attrName>ppt_y</p:attrName>
                                        </p:attrNameLst>
                                      </p:cBhvr>
                                      <p:tavLst>
                                        <p:tav tm="0">
                                          <p:val>
                                            <p:strVal val="#ppt_y-#ppt_h*1.125000"/>
                                          </p:val>
                                        </p:tav>
                                        <p:tav tm="100000">
                                          <p:val>
                                            <p:strVal val="#ppt_y"/>
                                          </p:val>
                                        </p:tav>
                                      </p:tavLst>
                                    </p:anim>
                                    <p:animEffect transition="in" filter="wipe(down)">
                                      <p:cBhvr>
                                        <p:cTn id="43" dur="1000"/>
                                        <p:tgtEl>
                                          <p:spTgt spid="40"/>
                                        </p:tgtEl>
                                      </p:cBhvr>
                                    </p:animEffect>
                                  </p:childTnLst>
                                </p:cTn>
                              </p:par>
                            </p:childTnLst>
                          </p:cTn>
                        </p:par>
                        <p:par>
                          <p:cTn id="44" fill="hold" nodeType="afterGroup">
                            <p:stCondLst>
                              <p:cond delay="10900"/>
                            </p:stCondLst>
                            <p:childTnLst>
                              <p:par>
                                <p:cTn id="45" presetID="10" presetClass="entr" presetSubtype="0" fill="hold" nodeType="after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fade">
                                      <p:cBhvr>
                                        <p:cTn id="47" dur="1000"/>
                                        <p:tgtEl>
                                          <p:spTgt spid="21"/>
                                        </p:tgtEl>
                                      </p:cBhvr>
                                    </p:animEffect>
                                  </p:childTnLst>
                                </p:cTn>
                              </p:par>
                              <p:par>
                                <p:cTn id="48" presetID="0" presetClass="path" presetSubtype="0" accel="50000" decel="50000" fill="hold" nodeType="withEffect">
                                  <p:stCondLst>
                                    <p:cond delay="0"/>
                                  </p:stCondLst>
                                  <p:childTnLst>
                                    <p:animMotion origin="layout" path="M -0.21528 -0.1 C -0.24306 -0.08888 -0.27066 -0.07777 -0.23472 -0.06111 C -0.19879 -0.04444 -0.09948 -0.02222 1.11111E-6 -4.44444E-6 " pathEditMode="relative" rAng="0" ptsTypes="aaA">
                                      <p:cBhvr>
                                        <p:cTn id="49" dur="2000" fill="hold"/>
                                        <p:tgtEl>
                                          <p:spTgt spid="21"/>
                                        </p:tgtEl>
                                        <p:attrNameLst>
                                          <p:attrName>ppt_x</p:attrName>
                                          <p:attrName>ppt_y</p:attrName>
                                        </p:attrNameLst>
                                      </p:cBhvr>
                                      <p:rCtr x="7986" y="5000"/>
                                    </p:animMotion>
                                  </p:childTnLst>
                                </p:cTn>
                              </p:par>
                            </p:childTnLst>
                          </p:cTn>
                        </p:par>
                        <p:par>
                          <p:cTn id="50" fill="hold" nodeType="afterGroup">
                            <p:stCondLst>
                              <p:cond delay="12900"/>
                            </p:stCondLst>
                            <p:childTnLst>
                              <p:par>
                                <p:cTn id="51" presetID="12" presetClass="entr" presetSubtype="1" fill="hold" grpId="0" nodeType="afterEffect">
                                  <p:stCondLst>
                                    <p:cond delay="750"/>
                                  </p:stCondLst>
                                  <p:childTnLst>
                                    <p:set>
                                      <p:cBhvr>
                                        <p:cTn id="52" dur="1" fill="hold">
                                          <p:stCondLst>
                                            <p:cond delay="0"/>
                                          </p:stCondLst>
                                        </p:cTn>
                                        <p:tgtEl>
                                          <p:spTgt spid="41"/>
                                        </p:tgtEl>
                                        <p:attrNameLst>
                                          <p:attrName>style.visibility</p:attrName>
                                        </p:attrNameLst>
                                      </p:cBhvr>
                                      <p:to>
                                        <p:strVal val="visible"/>
                                      </p:to>
                                    </p:set>
                                    <p:anim calcmode="lin" valueType="num">
                                      <p:cBhvr additive="base">
                                        <p:cTn id="53" dur="1000"/>
                                        <p:tgtEl>
                                          <p:spTgt spid="41"/>
                                        </p:tgtEl>
                                        <p:attrNameLst>
                                          <p:attrName>ppt_y</p:attrName>
                                        </p:attrNameLst>
                                      </p:cBhvr>
                                      <p:tavLst>
                                        <p:tav tm="0">
                                          <p:val>
                                            <p:strVal val="#ppt_y-#ppt_h*1.125000"/>
                                          </p:val>
                                        </p:tav>
                                        <p:tav tm="100000">
                                          <p:val>
                                            <p:strVal val="#ppt_y"/>
                                          </p:val>
                                        </p:tav>
                                      </p:tavLst>
                                    </p:anim>
                                    <p:animEffect transition="in" filter="wipe(down)">
                                      <p:cBhvr>
                                        <p:cTn id="54" dur="1000"/>
                                        <p:tgtEl>
                                          <p:spTgt spid="41"/>
                                        </p:tgtEl>
                                      </p:cBhvr>
                                    </p:animEffect>
                                  </p:childTnLst>
                                </p:cTn>
                              </p:par>
                            </p:childTnLst>
                          </p:cTn>
                        </p:par>
                        <p:par>
                          <p:cTn id="55" fill="hold" nodeType="afterGroup">
                            <p:stCondLst>
                              <p:cond delay="14650"/>
                            </p:stCondLst>
                            <p:childTnLst>
                              <p:par>
                                <p:cTn id="56" presetID="10" presetClass="entr" presetSubtype="0" fill="hold" nodeType="afterEffect">
                                  <p:stCondLst>
                                    <p:cond delay="0"/>
                                  </p:stCondLst>
                                  <p:childTnLst>
                                    <p:set>
                                      <p:cBhvr>
                                        <p:cTn id="57" dur="1" fill="hold">
                                          <p:stCondLst>
                                            <p:cond delay="0"/>
                                          </p:stCondLst>
                                        </p:cTn>
                                        <p:tgtEl>
                                          <p:spTgt spid="20"/>
                                        </p:tgtEl>
                                        <p:attrNameLst>
                                          <p:attrName>style.visibility</p:attrName>
                                        </p:attrNameLst>
                                      </p:cBhvr>
                                      <p:to>
                                        <p:strVal val="visible"/>
                                      </p:to>
                                    </p:set>
                                    <p:animEffect transition="in" filter="fade">
                                      <p:cBhvr>
                                        <p:cTn id="58" dur="1000"/>
                                        <p:tgtEl>
                                          <p:spTgt spid="20"/>
                                        </p:tgtEl>
                                      </p:cBhvr>
                                    </p:animEffect>
                                  </p:childTnLst>
                                </p:cTn>
                              </p:par>
                              <p:par>
                                <p:cTn id="59" presetID="0" presetClass="path" presetSubtype="0" accel="50000" decel="50000" fill="hold" nodeType="withEffect">
                                  <p:stCondLst>
                                    <p:cond delay="0"/>
                                  </p:stCondLst>
                                  <p:childTnLst>
                                    <p:animMotion origin="layout" path="M -0.11389 0.13519 C -0.06719 0.13889 -0.02032 0.14283 -0.00139 0.12037 C 0.01753 0.09792 0.00868 0.04885 3.61111E-6 -2.96296E-6 " pathEditMode="relative" rAng="0" ptsTypes="aaA">
                                      <p:cBhvr>
                                        <p:cTn id="60" dur="2000" fill="hold"/>
                                        <p:tgtEl>
                                          <p:spTgt spid="20"/>
                                        </p:tgtEl>
                                        <p:attrNameLst>
                                          <p:attrName>ppt_x</p:attrName>
                                          <p:attrName>ppt_y</p:attrName>
                                        </p:attrNameLst>
                                      </p:cBhvr>
                                      <p:rCtr x="6562" y="-6389"/>
                                    </p:animMotion>
                                  </p:childTnLst>
                                </p:cTn>
                              </p:par>
                            </p:childTnLst>
                          </p:cTn>
                        </p:par>
                        <p:par>
                          <p:cTn id="61" fill="hold" nodeType="afterGroup">
                            <p:stCondLst>
                              <p:cond delay="16650"/>
                            </p:stCondLst>
                            <p:childTnLst>
                              <p:par>
                                <p:cTn id="62" presetID="12" presetClass="entr" presetSubtype="1" fill="hold" grpId="0" nodeType="afterEffect">
                                  <p:stCondLst>
                                    <p:cond delay="500"/>
                                  </p:stCondLst>
                                  <p:childTnLst>
                                    <p:set>
                                      <p:cBhvr>
                                        <p:cTn id="63" dur="1" fill="hold">
                                          <p:stCondLst>
                                            <p:cond delay="0"/>
                                          </p:stCondLst>
                                        </p:cTn>
                                        <p:tgtEl>
                                          <p:spTgt spid="42"/>
                                        </p:tgtEl>
                                        <p:attrNameLst>
                                          <p:attrName>style.visibility</p:attrName>
                                        </p:attrNameLst>
                                      </p:cBhvr>
                                      <p:to>
                                        <p:strVal val="visible"/>
                                      </p:to>
                                    </p:set>
                                    <p:anim calcmode="lin" valueType="num">
                                      <p:cBhvr additive="base">
                                        <p:cTn id="64" dur="1000"/>
                                        <p:tgtEl>
                                          <p:spTgt spid="42"/>
                                        </p:tgtEl>
                                        <p:attrNameLst>
                                          <p:attrName>ppt_y</p:attrName>
                                        </p:attrNameLst>
                                      </p:cBhvr>
                                      <p:tavLst>
                                        <p:tav tm="0">
                                          <p:val>
                                            <p:strVal val="#ppt_y-#ppt_h*1.125000"/>
                                          </p:val>
                                        </p:tav>
                                        <p:tav tm="100000">
                                          <p:val>
                                            <p:strVal val="#ppt_y"/>
                                          </p:val>
                                        </p:tav>
                                      </p:tavLst>
                                    </p:anim>
                                    <p:animEffect transition="in" filter="wipe(down)">
                                      <p:cBhvr>
                                        <p:cTn id="65" dur="10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39" grpId="0"/>
      <p:bldP spid="40" grpId="0"/>
      <p:bldP spid="41" grpId="0"/>
      <p:bldP spid="4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uppieren 20"/>
          <p:cNvGrpSpPr/>
          <p:nvPr/>
        </p:nvGrpSpPr>
        <p:grpSpPr>
          <a:xfrm>
            <a:off x="-188370" y="657759"/>
            <a:ext cx="8864826" cy="4139395"/>
            <a:chOff x="2702995" y="-1595320"/>
            <a:chExt cx="13460411" cy="3867613"/>
          </a:xfrm>
        </p:grpSpPr>
        <p:sp>
          <p:nvSpPr>
            <p:cNvPr id="10" name="Rechteck 21"/>
            <p:cNvSpPr/>
            <p:nvPr/>
          </p:nvSpPr>
          <p:spPr bwMode="auto">
            <a:xfrm>
              <a:off x="3480264" y="-1293555"/>
              <a:ext cx="12683142" cy="3565848"/>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3500000" scaled="1"/>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IN" sz="2400" b="1" i="0" u="none" strike="noStrike" kern="1200" cap="none" spc="0" normalizeH="0" baseline="0" noProof="0" dirty="0">
                  <a:ln>
                    <a:noFill/>
                  </a:ln>
                  <a:solidFill>
                    <a:prstClr val="white"/>
                  </a:solidFill>
                  <a:effectLst/>
                  <a:uLnTx/>
                  <a:uFillTx/>
                  <a:latin typeface="Footlight MT Light" panose="0204060206030A020304" pitchFamily="18" charset="0"/>
                  <a:ea typeface="ＭＳ Ｐゴシック" pitchFamily="34" charset="-128"/>
                  <a:cs typeface="FreesiaUPC" pitchFamily="34" charset="-34"/>
                </a:rPr>
                <a:t>This is a DEMO Course Presentation On:</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IN" sz="4800" b="1" i="0" u="none" strike="noStrike" kern="1200" cap="none" spc="0" normalizeH="0" baseline="0" noProof="0" dirty="0">
                  <a:ln>
                    <a:noFill/>
                  </a:ln>
                  <a:solidFill>
                    <a:srgbClr val="FFFF00"/>
                  </a:solidFill>
                  <a:effectLst/>
                  <a:uLnTx/>
                  <a:uFillTx/>
                  <a:latin typeface="Dubai Medium" panose="020B0603030403030204" pitchFamily="34" charset="-78"/>
                  <a:ea typeface="ＭＳ Ｐゴシック" pitchFamily="34" charset="-128"/>
                  <a:cs typeface="Dubai Medium" panose="020B0603030403030204" pitchFamily="34" charset="-78"/>
                </a:rPr>
                <a:t>Facing Interview for Succes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1" i="0" u="none" strike="noStrike" kern="1200" cap="none" spc="0" normalizeH="0" baseline="0" noProof="0" dirty="0">
                  <a:ln>
                    <a:noFill/>
                  </a:ln>
                  <a:solidFill>
                    <a:srgbClr val="FFFF00"/>
                  </a:solidFill>
                  <a:effectLst/>
                  <a:uLnTx/>
                  <a:uFillTx/>
                  <a:latin typeface="Footlight MT Light" panose="0204060206030A020304" pitchFamily="18" charset="0"/>
                  <a:ea typeface="ＭＳ Ｐゴシック" pitchFamily="34" charset="-128"/>
                  <a:cs typeface="FreesiaUPC" pitchFamily="34" charset="-34"/>
                </a:rPr>
                <a:t>Subscribe Today</a:t>
              </a:r>
              <a:r>
                <a:rPr kumimoji="0" lang="en-US" sz="2400" b="1" i="0" u="none" strike="noStrike" kern="1200" cap="none" spc="0" normalizeH="0" baseline="0" noProof="0" dirty="0">
                  <a:ln>
                    <a:noFill/>
                  </a:ln>
                  <a:solidFill>
                    <a:prstClr val="white"/>
                  </a:solidFill>
                  <a:effectLst/>
                  <a:uLnTx/>
                  <a:uFillTx/>
                  <a:latin typeface="Footlight MT Light" panose="0204060206030A020304" pitchFamily="18" charset="0"/>
                  <a:ea typeface="ＭＳ Ｐゴシック" pitchFamily="34" charset="-128"/>
                  <a:cs typeface="FreesiaUPC" pitchFamily="34" charset="-34"/>
                </a:rPr>
                <a:t> and Get Access to 250+ Course Presentation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Footlight MT Light" panose="0204060206030A020304" pitchFamily="18" charset="0"/>
                  <a:ea typeface="ＭＳ Ｐゴシック" pitchFamily="34" charset="-128"/>
                  <a:cs typeface="FreesiaUPC" pitchFamily="34" charset="-34"/>
                </a:rPr>
                <a:t>What Y</a:t>
              </a:r>
              <a:r>
                <a:rPr kumimoji="0" lang="en-US" sz="2400" b="1" i="0" u="none" strike="noStrike" kern="1200" cap="none" spc="0" normalizeH="0" baseline="0" noProof="0" dirty="0" err="1">
                  <a:ln>
                    <a:noFill/>
                  </a:ln>
                  <a:solidFill>
                    <a:prstClr val="white"/>
                  </a:solidFill>
                  <a:effectLst/>
                  <a:uLnTx/>
                  <a:uFillTx/>
                  <a:latin typeface="Footlight MT Light" panose="0204060206030A020304" pitchFamily="18" charset="0"/>
                  <a:ea typeface="ＭＳ Ｐゴシック" pitchFamily="34" charset="-128"/>
                  <a:cs typeface="FreesiaUPC" pitchFamily="34" charset="-34"/>
                </a:rPr>
                <a:t>ou</a:t>
              </a:r>
              <a:r>
                <a:rPr kumimoji="0" lang="en-US" sz="2400" b="1" i="0" u="none" strike="noStrike" kern="1200" cap="none" spc="0" normalizeH="0" baseline="0" noProof="0" dirty="0">
                  <a:ln>
                    <a:noFill/>
                  </a:ln>
                  <a:solidFill>
                    <a:prstClr val="white"/>
                  </a:solidFill>
                  <a:effectLst/>
                  <a:uLnTx/>
                  <a:uFillTx/>
                  <a:latin typeface="Footlight MT Light" panose="0204060206030A020304" pitchFamily="18" charset="0"/>
                  <a:ea typeface="ＭＳ Ｐゴシック" pitchFamily="34" charset="-128"/>
                  <a:cs typeface="FreesiaUPC" pitchFamily="34" charset="-34"/>
                </a:rPr>
                <a:t> Get:</a:t>
              </a:r>
            </a:p>
            <a:p>
              <a:pPr marL="360000" marR="0" lvl="0" indent="-396000" algn="l" defTabSz="914400" rtl="0" eaLnBrk="1" fontAlgn="auto" latinLnBrk="0" hangingPunct="1">
                <a:lnSpc>
                  <a:spcPct val="100000"/>
                </a:lnSpc>
                <a:spcBef>
                  <a:spcPts val="0"/>
                </a:spcBef>
                <a:spcAft>
                  <a:spcPts val="0"/>
                </a:spcAft>
                <a:buClrTx/>
                <a:buSzTx/>
                <a:buFontTx/>
                <a:buAutoNum type="arabicPeriod"/>
                <a:tabLst/>
                <a:defRPr/>
              </a:pPr>
              <a:r>
                <a:rPr kumimoji="0" lang="en-US" sz="2400" b="1" i="0" u="none" strike="noStrike" kern="1200" cap="none" spc="0" normalizeH="0" baseline="0" noProof="0" dirty="0">
                  <a:ln>
                    <a:noFill/>
                  </a:ln>
                  <a:solidFill>
                    <a:prstClr val="white"/>
                  </a:solidFill>
                  <a:effectLst/>
                  <a:uLnTx/>
                  <a:uFillTx/>
                  <a:latin typeface="Footlight MT Light" panose="0204060206030A020304" pitchFamily="18" charset="0"/>
                  <a:ea typeface="ＭＳ Ｐゴシック" pitchFamily="34" charset="-128"/>
                  <a:cs typeface="FreesiaUPC" pitchFamily="34" charset="-34"/>
                </a:rPr>
                <a:t>Access the Courses Online.</a:t>
              </a:r>
            </a:p>
            <a:p>
              <a:pPr marL="360000" marR="0" lvl="0" indent="-396000" algn="l" defTabSz="914400" rtl="0" eaLnBrk="1" fontAlgn="auto" latinLnBrk="0" hangingPunct="1">
                <a:lnSpc>
                  <a:spcPct val="100000"/>
                </a:lnSpc>
                <a:spcBef>
                  <a:spcPts val="0"/>
                </a:spcBef>
                <a:spcAft>
                  <a:spcPts val="0"/>
                </a:spcAft>
                <a:buClrTx/>
                <a:buSzTx/>
                <a:buFontTx/>
                <a:buAutoNum type="arabicPeriod"/>
                <a:tabLst/>
                <a:defRPr/>
              </a:pPr>
              <a:r>
                <a:rPr kumimoji="0" lang="en-US" sz="2400" b="1" i="0" u="none" strike="noStrike" kern="1200" cap="none" spc="0" normalizeH="0" baseline="0" noProof="0" dirty="0">
                  <a:ln>
                    <a:noFill/>
                  </a:ln>
                  <a:solidFill>
                    <a:prstClr val="white"/>
                  </a:solidFill>
                  <a:effectLst/>
                  <a:uLnTx/>
                  <a:uFillTx/>
                  <a:latin typeface="Footlight MT Light" panose="0204060206030A020304" pitchFamily="18" charset="0"/>
                  <a:ea typeface="ＭＳ Ｐゴシック" pitchFamily="34" charset="-128"/>
                  <a:cs typeface="FreesiaUPC" pitchFamily="34" charset="-34"/>
                </a:rPr>
                <a:t>Download </a:t>
              </a:r>
              <a:r>
                <a:rPr kumimoji="0" lang="en-US" sz="2400" b="1" i="0" u="none" strike="noStrike" kern="1200" cap="none" spc="0" normalizeH="0" baseline="0" noProof="0" dirty="0" err="1">
                  <a:ln>
                    <a:noFill/>
                  </a:ln>
                  <a:solidFill>
                    <a:prstClr val="white"/>
                  </a:solidFill>
                  <a:effectLst/>
                  <a:uLnTx/>
                  <a:uFillTx/>
                  <a:latin typeface="Footlight MT Light" panose="0204060206030A020304" pitchFamily="18" charset="0"/>
                  <a:ea typeface="ＭＳ Ｐゴシック" pitchFamily="34" charset="-128"/>
                  <a:cs typeface="FreesiaUPC" pitchFamily="34" charset="-34"/>
                </a:rPr>
                <a:t>Powerpoint</a:t>
              </a:r>
              <a:r>
                <a:rPr kumimoji="0" lang="en-US" sz="2400" b="1" i="0" u="none" strike="noStrike" kern="1200" cap="none" spc="0" normalizeH="0" baseline="0" noProof="0" dirty="0">
                  <a:ln>
                    <a:noFill/>
                  </a:ln>
                  <a:solidFill>
                    <a:prstClr val="white"/>
                  </a:solidFill>
                  <a:effectLst/>
                  <a:uLnTx/>
                  <a:uFillTx/>
                  <a:latin typeface="Footlight MT Light" panose="0204060206030A020304" pitchFamily="18" charset="0"/>
                  <a:ea typeface="ＭＳ Ｐゴシック" pitchFamily="34" charset="-128"/>
                  <a:cs typeface="FreesiaUPC" pitchFamily="34" charset="-34"/>
                </a:rPr>
                <a:t> Presentation for Each Course.</a:t>
              </a:r>
            </a:p>
            <a:p>
              <a:pPr marL="360000" marR="0" lvl="0" indent="-396000" algn="l" defTabSz="914400" rtl="0" eaLnBrk="1" fontAlgn="auto" latinLnBrk="0" hangingPunct="1">
                <a:lnSpc>
                  <a:spcPct val="100000"/>
                </a:lnSpc>
                <a:spcBef>
                  <a:spcPts val="0"/>
                </a:spcBef>
                <a:spcAft>
                  <a:spcPts val="0"/>
                </a:spcAft>
                <a:buClrTx/>
                <a:buSzTx/>
                <a:buFontTx/>
                <a:buAutoNum type="arabicPeriod"/>
                <a:tabLst/>
                <a:defRPr/>
              </a:pPr>
              <a:r>
                <a:rPr kumimoji="0" lang="en-US" sz="2400" b="1" i="0" u="none" strike="noStrike" kern="1200" cap="none" spc="0" normalizeH="0" baseline="0" noProof="0" dirty="0">
                  <a:ln>
                    <a:noFill/>
                  </a:ln>
                  <a:solidFill>
                    <a:prstClr val="white"/>
                  </a:solidFill>
                  <a:effectLst/>
                  <a:uLnTx/>
                  <a:uFillTx/>
                  <a:latin typeface="Footlight MT Light" panose="0204060206030A020304" pitchFamily="18" charset="0"/>
                  <a:ea typeface="ＭＳ Ｐゴシック" pitchFamily="34" charset="-128"/>
                  <a:cs typeface="FreesiaUPC" pitchFamily="34" charset="-34"/>
                </a:rPr>
                <a:t>Get Course Completion Certificates.</a:t>
              </a:r>
              <a:endParaRPr kumimoji="0" lang="en-IN" sz="2400" b="1" i="0" u="none" strike="noStrike" kern="1200" cap="none" spc="0" normalizeH="0" baseline="0" noProof="0" dirty="0">
                <a:ln>
                  <a:noFill/>
                </a:ln>
                <a:solidFill>
                  <a:prstClr val="white"/>
                </a:solidFill>
                <a:effectLst/>
                <a:uLnTx/>
                <a:uFillTx/>
                <a:latin typeface="Footlight MT Light" panose="0204060206030A020304" pitchFamily="18" charset="0"/>
                <a:ea typeface="ＭＳ Ｐゴシック" pitchFamily="34" charset="-128"/>
                <a:cs typeface="FreesiaUPC" pitchFamily="34" charset="-34"/>
              </a:endParaRPr>
            </a:p>
          </p:txBody>
        </p:sp>
        <p:pic>
          <p:nvPicPr>
            <p:cNvPr id="11" name="Picture 5" descr="Tessafilm_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gray">
            <a:xfrm rot="20222041">
              <a:off x="2702995" y="-1595320"/>
              <a:ext cx="2229621" cy="525903"/>
            </a:xfrm>
            <a:prstGeom prst="rect">
              <a:avLst/>
            </a:prstGeom>
            <a:noFill/>
          </p:spPr>
        </p:pic>
      </p:grpSp>
      <p:pic>
        <p:nvPicPr>
          <p:cNvPr id="12" name="Picture 11">
            <a:hlinkClick r:id="rId5" action="ppaction://hlinksldjump"/>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707904" y="5085183"/>
            <a:ext cx="1584176" cy="1584176"/>
          </a:xfrm>
          <a:prstGeom prst="rect">
            <a:avLst/>
          </a:prstGeom>
        </p:spPr>
      </p:pic>
      <p:sp>
        <p:nvSpPr>
          <p:cNvPr id="13" name="TextBox 12"/>
          <p:cNvSpPr txBox="1"/>
          <p:nvPr/>
        </p:nvSpPr>
        <p:spPr>
          <a:xfrm>
            <a:off x="539552" y="-4737"/>
            <a:ext cx="8352928"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prstClr val="black"/>
                </a:solidFill>
                <a:effectLst/>
                <a:uLnTx/>
                <a:uFillTx/>
                <a:latin typeface="Arial Rounded MT Bold" pitchFamily="34" charset="0"/>
                <a:ea typeface="ＭＳ Ｐゴシック" pitchFamily="34" charset="-128"/>
                <a:cs typeface="Arial" pitchFamily="34" charset="0"/>
              </a:rPr>
              <a:t>ManagementStudyGuide.com</a:t>
            </a:r>
            <a:endParaRPr kumimoji="0" lang="en-IN" sz="4400" b="0" i="0" u="none" strike="noStrike" kern="1200" cap="none" spc="0" normalizeH="0" baseline="0" noProof="0" dirty="0">
              <a:ln>
                <a:noFill/>
              </a:ln>
              <a:solidFill>
                <a:prstClr val="black"/>
              </a:solidFill>
              <a:effectLst/>
              <a:uLnTx/>
              <a:uFillTx/>
              <a:latin typeface="Arial Rounded MT Bold" pitchFamily="34" charset="0"/>
              <a:ea typeface="ＭＳ Ｐゴシック" pitchFamily="34" charset="-128"/>
              <a:cs typeface="Arial" pitchFamily="34" charset="0"/>
            </a:endParaRPr>
          </a:p>
        </p:txBody>
      </p:sp>
    </p:spTree>
    <p:custDataLst>
      <p:tags r:id="rId1"/>
    </p:custDataLst>
    <p:extLst>
      <p:ext uri="{BB962C8B-B14F-4D97-AF65-F5344CB8AC3E}">
        <p14:creationId xmlns:p14="http://schemas.microsoft.com/office/powerpoint/2010/main" val="2631862197"/>
      </p:ext>
    </p:extLst>
  </p:cSld>
  <p:clrMapOvr>
    <a:masterClrMapping/>
  </p:clrMapOvr>
  <mc:AlternateContent xmlns:mc="http://schemas.openxmlformats.org/markup-compatibility/2006" xmlns:p14="http://schemas.microsoft.com/office/powerpoint/2010/main">
    <mc:Choice Requires="p14">
      <p:transition p14:dur="10" advTm="37000"/>
    </mc:Choice>
    <mc:Fallback xmlns="">
      <p:transition advTm="37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750"/>
                                        <p:tgtEl>
                                          <p:spTgt spid="13"/>
                                        </p:tgtEl>
                                      </p:cBhvr>
                                    </p:animEffect>
                                  </p:childTnLst>
                                </p:cTn>
                              </p:par>
                              <p:par>
                                <p:cTn id="11" presetID="10"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tags/tag1.xml><?xml version="1.0" encoding="utf-8"?>
<p:tagLst xmlns:a="http://schemas.openxmlformats.org/drawingml/2006/main" xmlns:r="http://schemas.openxmlformats.org/officeDocument/2006/relationships" xmlns:p="http://schemas.openxmlformats.org/presentationml/2006/main">
  <p:tag name="ISPRING_SCORM_RATE_SLIDES" val="0"/>
  <p:tag name="GENSWF_OUTPUT_FILE_NAME" val="facing-interview11"/>
  <p:tag name="ARTICULATE_PROJECT_OPEN" val="0"/>
  <p:tag name="ISPRING_RESOURCE_PATHS_HASH_2" val="addaaf3c9d65c4af027ba5ca456668c8637a5ef"/>
  <p:tag name="THINKCELLUNDODONOTDELETE" val="0"/>
  <p:tag name="ISPRING_UUID" val="{6D3D6DF5-86D9-40AC-9687-0F40BA1D7D2B}"/>
  <p:tag name="ISPRING_RESOURCE_FOLDER" val="G:\VMS\Voiceovers\Facing Interview for Success\PPT File with Audio\Facing-Interview-for-Success\"/>
  <p:tag name="ISPRING_PRESENTATION_PATH" val="G:\VMS\Voiceovers\Facing Interview for Success\PPT File with Audio\Facing-Interview-for-Success.pptx"/>
  <p:tag name="ISPRING_PROJECT_VERSION" val="9.3"/>
  <p:tag name="ISPRING_PROJECT_FOLDER_UPDATED" val="1"/>
  <p:tag name="ISPRING_SCREEN_RECS_UPDATED" val="G:\VMS\Voiceovers\Facing Interview for Success\PPT File with Audio\Facing-Interview-for-Success\"/>
  <p:tag name="ISPRING_DEFAULT_PRESENTE_ID" val="{1AFA9F35-A445-473A-B24F-86226692A42A}"/>
  <p:tag name="ISPRING_PRESENTER_PHOTO_0" val="png|iVBORw0KGgoAAAANSUhEUgAAAL4AAADDCAYAAAFLz5sUAAAAAXNSR0IArs4c6QAAAARnQU1BAACx&#10;jwv8YQUAAAAJcEhZcwAAFxEAABcRAcom8z8AAP+lSURBVHhe7P1leFzXlu8L30/vPe/pDQEzg5iZ&#10;mZlbUpWqxMySJUuWZAZZMjPGjI+ZMXbsOHGc2IkpdszMjDL8JN+xSlJgQ3dv6D59zr3zeYarXFVa&#10;a66B/7HWnGP8X3/LcNQ2rnbSNjxw0DSMaPvoHxtywGlO2sYPTgHehGoiKR6uZfDULCobUigcnkRW&#10;bRzK920//9uG8oeWTvYY2drgGBKCe2Qs9v5+FI9MY8C4THKGqsgYFEdWSTza7L/hRI6axp29jIzp&#10;1d8QA2Nz+pma4+jlg2dYBFaevnhERJIzLJnUQRpC1UF4RwVh5RusI2dt/b99EuHvwo69jbA2N+Mz&#10;rTvHq/z5dnAodele2Di54eTrj3tUDNqBybglheMSGU12WSojGqvQFmWSkp1ASHpVS9vh/nx07GeC&#10;q7UFSzXenKsO4G59FA/mJnJlbBCenk44eHoTnJZDxaghdLPyxdo7mrC4RMrqCrDyCyGzUEVxWdJf&#10;ZpfyYT9jK0bHunGxMphb9bHcW6jh1fp0Xi1UU5bgjYN/CKryQaxev4gnL65x9/EDsgc0YOyooo9N&#10;Cnp2gajzMymrTMNR2/C67dBycM0EvT90NiTW34uvy0K4PSyWx5OTeLYwhaaVabxZlsK5kXGYOnrh&#10;Hp/I2q3refXmDs9e3Obx0+vcuXeOq1dPcvTI53x97DCR6jws/dOb2w7fOvv/2VGf/Fhvvi6N4+4I&#10;OfjEFF7PzuDVnGSal2fyZk4kdvYBBKXksGTzJl6/u8frt3flJLd4/OSqnOQCF66c5PiJL/nyy+1s&#10;3rgUB21jpO4EH3U14l86GlCVF4+VhR0HaxN4Ua/l+OA4NM7mfD8miRUqY3wdHTFw82fs3AU8efuI&#10;pvcPef3mPi+f36SubgwXDmzkx9Pf8N2RPezdvf4XWVg6BfJRZxOsfUKwcAmlh54beua2ODi64hIY&#10;golvGEsbCjCwdSZPDlQ7fgYfXt2k5e19Jo5ZLe8/MGLiZuKrP8cpdgLJGTV8vmcNeYOntijWOrFD&#10;L9EeZzfm5kQzJDeErkbm7BieyLNxWXxWpmbD+By2D1Jha27Nx32tCc8so3T4CmHTE5LKtzBnxyk2&#10;PX5F+ubvuX71DKNzGlg2cARr1y1BMaznnfqYkJ6czp7aNH6oSSUuPhw2ZFErut4yWcW72RqYUULL&#10;89v0tnDG2D2cyLxpOGYso+XN99w/9RXcv8PTO2e5dfsCyYXzGDVjPekVjSgCXtlN35yEhET2V6ew&#10;qUpmPEQOuDyF99PD2VSdzrlxlbyYXwmXv8LM2gcD9zBm1M9DO2ARDx7d5t6ls1j5D8TJv4IBi9Yz&#10;/uC3OBTOxHfQfHQy6NDLiI+6WzC5KJGc1DjmlyXwZp6apqmxXJ+Uwa2pRTQvLKPp9Ab0RFWtAhNQ&#10;Fc7BKGozruoVdHUqpL9nJl0tEultlYhxaBn6CePwm7W4VVU79THl4y4mFGVGUZ8TSYUqltPlabwY&#10;k8F0Ud1NVYm8XVzG+b1b6e8UgE9yNiaesew5eZWzj97h5RaCvl8uJu6pdDMO4RPTYP7FQvWLFilv&#10;Pu1hxkddTdk3KoVRKSrebKvhSYMKpifx5rMs3qyroYeRI46xORQ2jGHgpDpGzp7KRz1t+LSXC7ef&#10;v+TRreuoysbSyzpeXEk0It/3uhPIm+a+pnZ07GmFnX84qwdnclw8ZstnmbA0lZY1BXw1u1y0y5nO&#10;5i4EZOaQO6KG0TOHMWZ2NY3zhjNz6RR+J6z+H319CM4dTR/r6Fb+tw8L36TmHgZWfNzZirki2OZR&#10;iTArnfeL83m0uID3T8/IH3mj5xyIQ4yGsMISAopHMmTbcuatns6i5dNYvLKBNavGsmLNhD93eI7J&#10;DSW9jKzprmfPx90sWTO4gqtiXG8WZfNqRTHNzy5i7hGPvp03fVwCcIhKpptTJJEDh/Hg4Ule39/G&#10;kzv72b5hCgOGN/5ll62cta+JA90N7Olr5kZ9YTSnxqfT8vVncGQ2Xaz86WnuyqcW4jK8ouhg5Elv&#10;Efbpa2d4Lpb9+P51bl0+8FvW/OlQTtJFzxZzNx98ggM5M28IbBxI0/ICusgBuxo74xiu4WNDRzmB&#10;B90sA8RNO/Ls2U3u3b2AS3Jj/7ZD/fWhnETf1g17Dw8WVmtoWZrEpRlpdOpvT38rdz7Vs6OzsRuf&#10;6DnTycSOc+tG/sdj8q+H8kcDUuJ4PC2KWA9Huuo7Y+0VQT87PzoZOtHR0AXz4NyWv+vgvx722jEG&#10;ykH+lNq+/ucMsZVUAQWXJRTuaPvoHx/KLG18vXAN8SO3JoXBU3KpGZdOyWgN+UPVOr7/XVei/JGF&#10;sxUmtva4hUbgEBiEXUAAYSlR1EzOonCMhuwhiaSVRxKlCSMwraLFMbVBv+3P/+2hHLyHviG9+5ui&#10;b2GLmYMzHkES6dx95UoiKRiaT1pdEurCeBJzYsX4FNAVgm1AyL+vScoP+hlZkOFlyZ5iL34cFMjS&#10;bHd8fV0xcXAQHORNTG4q0WKA/tGBuAZ7U1qZTUZ5MoVVJWRJTP+rJ1G+6NnHiBRfZ86W+nOtJpgb&#10;U6O4PzNGvKsPXj4CvqLjUZfm0sPGR4wrgP5mQaRkZkqcTidEnUBBuZaSYhVu6vqP2w7bOlzSG7p1&#10;7GVIjIcT+/P8uDVSEN0MNU9XJPNidTKnh4Xg6+eNqZc/qZXlPHh6jftPbvHj1YsCuqLobyeBxjoW&#10;K68gymryCcv8E/iozL6/vhkz0ry5PDice/WJPJ+dwqvlabxekcrb+ckE+Nnhl5xBwcgRPJTY/LLp&#10;Nk+e3eDeg0sSh89w/uwxjv1wgMVrNmHtFvVbVv2hswFOIsxFOaFcHRzLI9GSVzMzaJqZQvMyiQeL&#10;Mphb5I1zcASFw0ax/9AXNL19wMvXd3UnufvgItdunOHM2e/47ug+9uxai3fGuNYTKGf6fSdDImPi&#10;CInwYEZRFNeHxfFqQjJF7hbUR1rycFYeP4xKomM/C6obpzB88hRe8lB3ktdN9yTwP+L19fNc++k7&#10;Tp/8mi8PbGXThqWtXlU5wSfdjelmaIOJkzvdje3oK05NX6JXcFACPSxd6O/gi4O9rcTccCy8Ixkz&#10;a75gogesmTKPt+/v0FC7kvjSpXinTiZM28CRw3vYvm01TprGgf+XnvO/NnfsbUx9bjgT8kJJSIzg&#10;aGMuhfFuzM71ZNHgAg5NzWFXnYbG7ACJB95YhSTy4C1cufeO1eeukT7+CI03H6GqWs/MIQv4Zud2&#10;Du7d0CqHnjLjjoLsJuQm8UO1iuzEUJ5PS+XshHTezRABC8puWVjAc5nVmsHJ9DD1kmATQnDBXmyD&#10;q2jhG941PeDNo5vcvn2CK9fOExQ3AXevytYTGLlFNXfoZcz8wkS+HZrC2KJQXk5O5c0SLVO1nnw9&#10;NIO708ppPrWL3DAvOhm4YhOewqObD6mrHsyHprd4xS7GzLMI+6By1pz/gXEn9lG146vWEyj/dOxl&#10;SlJ8DJOLE8lNSeLFtBxeLsnl3cxk5peqeTc9l5ZDS7B1dqaPpSe101fiN+gHjKMn089tAN0tVfS0&#10;TsLCv0CAmZakGYeJ27lfkpDGA7oTfNTVhI+6WbB7lBZ/Eera7Azejk7jdm0Km9N8uTM9C/ZPxT+5&#10;gL6O/oQVFLNi3yVeNT/lyKmz/MEkka7m0Ri4qOlmHk4Xy3j0BOnptMg2e87//KS7CR16WBAfG8n4&#10;ghiOTCjiw9EJvK6N4M3MRN4tKeD17hX0tfHFNkKLekAp1ZNrdF72454+aCduEuN7x/M7LyTKBdHF&#10;NIpeTppfMhxz7/jmrqLjf+xkxpASDavFWz6YmCGZTRotK7J4vqoEc69oupm64xilpWhsIyPm1Avo&#10;qqV+5iAmLxwr6W0Yn/QLwjmyiD/q+f7WkpX/mIsNdO5tLpmOEScHJ9AyKYWWeZm0bB7KlWWjxEZE&#10;RU1dsBPgW9g4Cf/8gQxcu4aGLUtZvGIiC1dOYeWqMawW0OXj7/Pn0EU5SR8Tez7tbo5K8t9jI/O5&#10;Ni6PpqU5tFz/RjKfEPpauKIn6M7MJwoTv0RM4/O49u4Zz5/u5snNbezbNYVt6xp+O/tfjx6GdvQ0&#10;sKObvg0ufgFMzA6naVEOzYfnY2HrhalrCN3NnLAOSxSAG0xvlwhMQ8RnvZaM88kNHtw6+9cP3j4+&#10;6WNHL1MnXEIEyhdn83ZZBe83ldHDwFaAl6sYmgu24Wpx0cEiTF9Rz2Dun94imebtf//g7UP5ob61&#10;C2WFKTyckUfzqnSBkx4YSKDpbOhAPxs/upp40snYic5mrrzcWPgfP3j7EHgy20kz9sPZRg1N89Wi&#10;fg6YOAahb+8vB3ami0IClP/mA/+loRzkT8lR05Dd9vV//vjTk0cUDW7JGFzaXN6QT0VDNll1Bc3/&#10;Wlqhg5i/JtfksaZth/ivG07JDTXKyR0T6j7YuLmKeThi6yMGHuiPb1w0TkHhOIU5EpYcRqE4Zx0Y&#10;nJhFZWMKZfUacoYmki2UURdHzkChomiis7Kb2y+q7TT/3OGQ1BigHLy/qRk2js7YONlham2NvrkN&#10;+lbO4vKiickuwiMqBvfwaOx8g3EKDBWgL26wOIuq8VkU16eSPUxFpgDOzEEJpFXEkVqeQHSGCmu/&#10;cCwFdVn5BmHtG6DTS4Ha19pO//cPOch95WD9DM0ws7bF2soOJwtTwpwdyPF3JsPPgSjBmNGhzmhi&#10;fAgM9MPYToxFyN7HF8eAYGz9A9GU55Am0DypUk1AfgQhSRF4RkTgG+VP1oBM8gcVklqWTnyulojU&#10;TFyC/UlKl9+mVv99mY2SxCl/2KWvke7WpouNKdleZmxJ9uJ4iS/XBgVzc1gYt0YJApwYJSgwkl2l&#10;fmjDnXDycsPN3UPnKF1Dw/FNVJFYlEfO4HLCsuKxiY4hNC4Mv6A4yf88Sc5MJDktgUh1sEgjAZfQ&#10;MJGewNPcRPKLtRRKbHLRNijq9axtev/2UCbe1ciBLv1MMBLOqz1smKr250ReIFcHBnF1WAQ3x8dx&#10;Z1YCD5dpebwqlcdL1DwTV7U0x4NoQfRuXl74Rcdh5hVAaFY+A0YPZ+r86RRXj6CPURC9zCIEy0UK&#10;Tgijt22MOOMo+lgHYeIm5Bon6lhIXmkapRUplA5Ip6I0nQHFKf++y1N+8GkPEzp1M8BDUo2Bse5s&#10;yfXnTFUAN4ZGcHtULHfHxfBkbjIPBTE9X5XMq7UZvF6VxpulyTyWLGJRsS9hvv5YeQfiqUklODML&#10;7cBy1m5ZzePnN3j+6gbPXtzk8VOFrutw+e275zl7/jg3b9/gwFffoMoaiLGrGmP3TIyc1Ji7xGHq&#10;LHbiJrb11y5C+eKTbob8vrMeVpZW5MV4C0fD+G5AVGuyMDKRu2MSeTJFw/NZkjDMT+P9UgFKAjne&#10;rUjTvTYvzuLZ+FBSvU2xcfbDKjCCxNIKRi+Yz4bd27n9+CZNuhutrYnF85etyYVyIfcfX+GOgv8l&#10;3l68coazF7/l1I+HOHX8a3747gsOHWi9Cbt86Zw/vwiB19v03NQtSgLy+w569DEwx9ZMn+zoANbV&#10;JPDjsAThfqIkJGoeT0yhaYpg1slaXk3PpkkgzfMFAmsWp8A8DSzQ8kWdpFN6NnSzkrjtF8WYeYuY&#10;uXKVqNE8Xry9zysh3YUoN3MleXn64hZPRCoPH13i/v1L3Ln9E9eu/sC5Sz9w4uQhfjh+kMPf7OKL&#10;fZvYuX0169Ys/O1F6Ljf04iPu5nQsbeoUD9LPpFE81M9EwwtzUmIjqYuI5QfBLXfnaThwXg1O0YV&#10;Mqcuh/pCFfMEF28cnsn+Udl8PqOK5UOLyNeKrps40tvBT+LBWBrnLWXKoiU8f/8SeExT8xOO7V/N&#10;m7c3ePruNmeOHiQ6dzlvX9zh+a1znDm0m6ObFrF+3R6+P3iA77/7nK8O7mL3njVs2bT4lwvwTJn0&#10;kWPS2A8mtt4oCZSS47i426CKDyQxJpBUbZTkOpH07mtOt362dHcMYHpdJRtKI8kPtmNQWRoebtYk&#10;JwQSERPNoiI1W4bH0MfdHQNLO7EnN7oau5JTO5a0gYPZv2knb5ru80YkMG/WftJL5vP45XNO33vG&#10;kInfkdDwFXNO3CZ+7AGc85cyZs6XRMaPITWyjhMH93Pwi63s3rWa9WvbpCC+/oueFj7Nn4oEOvc1&#10;ISosiEUFEXxVE8+3dfHyqqEqK5bevQ14MzWFd6vyMOunT7MkzK8kyp5vVHN9osC+xYWS56ZxY3wa&#10;TTumMV08z6YhKXTQs6KnmTeeCZnoe0niVzYDR/VEkqceZtyhn1i/4wgVUxbT8kzU6dVD7n54wtqH&#10;jwkfOJPD+7/n1tUT3D19mprM4XyzdRujBg4lOzKbbVvanhmI/p/Tt/Gma38zPu1pjDYpmZQQHxyM&#10;+mGpp4+lTNbV3YvJA9N4MTWL92vEWJfEMijOg8a8DC5OreDh9Aoeza3k+uI6pmaqCAoIp1mSwFHZ&#10;YRgIAu8kUFPfLRzrcBWx6RO5fPEGb2SSQ3PzoPkMH95e4snpH1CXTSW3cjuDRy1kQGUD9fO/ZuT0&#10;1Szbvo28BevIWbCD0fv24Vg4j6zZG9svoCHJKqyopaehpU59OvU0ZExOPOvKozlYFcv4vDCmSXp2&#10;qD6T11PSaVmSSstS8UKLMmkaF8ayLD+uj0mnaYZ8J+lb80KRxNEVtJzZTaCnO2bOSjrtQT95tQtL&#10;4eX9B+ROOY9L3BZsoiZLZN6KR8ZGHOInYxlRjW3QQIwkpevvosHctwgDz1RmnbtA9qEDjDx6msH7&#10;TxI0cQ2Fm3f9YgfKm096GIgNSH7ZxRR7Zy/mi8EuLIshTRNErjaWsrQ4RiaHsikjUDLnHN5JLGie&#10;mQTTUlhUFcaagencnJwnaXoFLQfn0vzDFrxjkjD2CqK7qSt24UkMnruMq29fc/9DM18ce4Jb7FiM&#10;/cvRsy+gm7GarjZJksqoMXTLpJdNIv0dNXQ2Eik6JKHvoMIpcSR9BkxDvesYjinjPjhrxpn9fAEf&#10;dTPio67GcgEm/KGzKbbuwawfkcFP4jYLEkKYO6KWM1tGcnddFi0nx/ByRzmvNhRztSKKh/VqHk3L&#10;FO7n0rSshPcHpmFmZIZzVDoecTkY+UYTK/EgubqWwLR0PjVwoFPfYD7tG8aoaRu5euUsO9ZPIunB&#10;M04+fEJQTJnkZ1oMXVUYOAoTbBLoYRWry4e7ShTvZiOot5377UP5oGt/U7rpmdNJ0lclu1SepZUV&#10;xjNuUAzVmii25mi4VihRuErDs5pE3s/N5t1SUZ3lOTQtzOGNMvn1I/HyD5aUyocuho4Yekfjn15E&#10;9sjhpFQNpGh0FXmDKwSp+jJ48gCGTa5mzJR6LNzd+KiXAx93d+V/dnEiuXgUm4+c4Pitp5y5fp09&#10;567Q30lDH7vYP598+1C+MHPwRN/Cke4SiD7pZsr/6GhKXHwCe+sLODpCMM84gQ2TM3k7O1l3Z615&#10;WSbvVxXSsq6Sc/PKefHTIUndwull4UF3E1dJoSOx8IvGLTGFkPxCEgbWit4XUj5lHKPmD2Pi7ME0&#10;LKhl6sKRTFg8mNlLhrJgxRAWrBzFinVz8AgMFFzmyP/oZMPve7jpJu+U1GDTNuU/H8oPehtbSxZs&#10;Rbf+lnToYcnHXU3RhoXy5ZBkmoZreD8xlXczxHXOzOHtvFLuzczmxZJ83h9az9snFzCxD8LIOVRy&#10;BfE+DgH0louxDEnAJzUf65B4fJJL6OWpwiO7mEe85iZvuPnkJs/u7+f4D0vYsWUuWzZMZ93qRjas&#10;Gc+mVQ1sWdX41zn/p0P5oYmXurlzXzN6GtjTuY8lnXpY8ZGk/H31HXFwdac6OZglg3N4Pldw0MJk&#10;Xq6p5d25z3l75TCmkjgbusdh4hJIP1sPzN1DsAiOJTirFOtQNb3tQ/mjsQQ67yQsIvPIHTWOptdf&#10;8+7FPt4//YqXj0/z6ukJbt/Yyq7NI7l0eu1/fPK/HsofdeppQU8TZ3oIxO4pmbyBTMjSw5+BufFM&#10;zorh6uJhvF5aLJ5nFi07R/J6bZnkEFYClQN1EVjfxhcjF4EVDr709wzhU3N3+skFdDT2ortVIL2c&#10;ItDzTtQ9n3775gHPXwhifXqNh/fOc+/2ad3EPfOn/65tSn/fUA5iGVba0svMUSbvg5vkve6SrERF&#10;e7F9eI64zoG8WyneSXKDp8uzMRTudhFJdTdxoYtIsJuxI58Y2Ilfj6aDMKG7ROZPjdzEq3iJscuF&#10;mPri4mjGy9111JYkUju89O/j+L83bP917B+VA9vG1bQ4iRfx8XZhXJofuwo9BU5LEFupZU5BCB0M&#10;PURaLhjaecvk7ehh7qazhe4S0DoaOdHNxINP9Z3oqmdPRwNf+uqZsnFqaVti3zCz7XT/+UNgSFDr&#10;SRs/uCU3fHi1MA5rM1Phvh2d9V1xDknCLlAlXHbV3a3qYuxGZwMXibi/usWiaVzSdrj/HkN5TuOo&#10;aZgkdEi4+UagyglHbeN8e22jc9tP/vsMmdjonzkp5CJS0FRXNOePLGqunpBF0Yjs5uSq0mbvjBG/&#10;uaklf3es7RD/9ePnScRXtig3tJwCvfAIDyA+N4bCYUlUjctkyNRchkzK1i0pKx+TTPFILflDVeQM&#10;TiC2KPfnm1h26vp+bYf9zx3tJ7T1cMHa1QkrN2fs/DxFx4Nxj4jAKcQPz0hv0is0MukMBk/Jo3p8&#10;OgMakikY2Xo3LmtIAlmDYsksjCSroPVhmkJtp/jnDzn4JuUEVi6OWDnYYO5gj4mDLSZOzriFReIe&#10;HqZ7fmkXEIitrw+ukgilVqiomZhD3dR8ShvTyRuepLuNmFWbQLpA89TicCKTgkjKjCNZ4sh/ykW0&#10;H9TQ3BIrZzuZvK3kxdaCCJ1xDoomOrOYkORUzFy9sPL0F/LGJThCoHMkuXVayhtTyR+lJUuZ+OBE&#10;0irj5MISic+LwSE4THf70FLIyjcAh4hMnTq1nfofG7pJuwQ39zIwpreeEX30zIRM0DMxx9zRSQCe&#10;FfYeXviHR2ElUMLM1VMm7yP6H4NvjOh2VgqFIzNIH6whrVZLykAtkWnhaIs1hGmCMZcAaOEdiLVf&#10;iO4ZuY1/KE5BQTopKI+i2qbxtw/lAN1662NiaYWllT32Vpb4OTmS6uNMXpCzvNoR5GNFfLgbmqgA&#10;nP38MXdywk44b+/rK3YQRoBaDHRILpqBScSUxRKYG4l/VDjBCWGEqkNIL00jszILVW4mEWmJeMZE&#10;4BsRQmp2gu4C/i4Xq/zhp32M6KlvhomZBb62ZoyMtGdtljPfVPjxU10IxwYFcaAmlEmZXsSGOWFu&#10;44iNizsWzq64BAXjEBRCiFZLalU28aXxBIsn8owLwTMqFJfAADJLM8goUDNiVDn5lfmklCaRlJdF&#10;XEo06XmJ5BX+ahnWf3Qof9DLwrO5az9jjA31ifU2Z1qsO0fyfDk/wJebdaHcGhHOjYYonk2K5cqY&#10;BCbkBeLp64y7jxcOXj6YuwouDw0jMiOdnLoBJMpEPTWR2Ik0kjRJ+IbEoMlIQpuaQF5RItEpGrKq&#10;crD2DUeTJ16pQKO7aVtY0rp4pG1q//aQkH3FLn7oh06i10b9DQh3s6M2xJbDOQH8JBy/WhvCLeWO&#10;8/gIbs+M5ck8FXcmR7KxyIX4UC98/Xxw9vbD2t0b7wRRlaIy6udPwiU8VhL2cPrY+ItdhEkyE0lw&#10;dAax6kQSU+OpGJFDXm0ZtoHhpORpyS3VUjJAQ0lZEgVF2v/YBSg/UlZd9JSU0dfOhjJ/W7aonLlY&#10;FMClmiCuj4nm7nSZ8HwVD5W7zQLKni1M4sGMeLLDnPHw9cAzOBQLMUQfVQqqAQOYs3I+uw4dxCMg&#10;V4BbCF1MQuliESwwOlx3t7m3VQgGTgFY+yRg4hVFaqFE5jINpRUZlJenU16Shkvy2A+OmnHL26b5&#10;50OZeIeeBpLjGuFqbUVJqAerMrw5VRagu8d/Y7RMvDGOB/M03FusFiyfwYt1KbxcmsTLmQmsLQ8h&#10;NsIfe79AfOLVeMQno62pZe7yedy+e4Gnz67w9MVtHjy5x50nj5mzfB22nlpMnOMwclTR315LXxsN&#10;fW3DMZacwF+VQM6APMqqM+ViUv869x2SG7yVLz/pYYyJsQVJwS7M0nhyqNCXqzUh3B4ey60xMTye&#10;qubJohQeLUvi9ZoMmhRaniL4XsOxkUHkR3pi5+6HtzoVU/8AcocPl7x1Dvu/2MqLV3d49vIGT5/f&#10;0t1dfvDwim5J7+VrP3L91mWuXrvC5HkrxNUmYuSWJimmFiMH5TZ5lC5TE5T6l2OA8qGy/PeTbkY4&#10;29pRLQa6MTeAUwNDuTkkirsj47nXmMjzGVqez0/h+ZJU3aJm5R7/2+WpvFmRzIP6CBpTvHB0C5CE&#10;PISgjBwSSkoZMnkc6zev4lXTPd2CZ+X2+NPnN3W3yB8+vioXcYlbd85y7cYpbl//idMnvuLzvRs4&#10;/P1Bdh84QO3oybj4xGNk/1fu8ysf/qGLIR266xPu5UiDNog9heGcq43TTf7eKNHxCUk8nSFqMkcm&#10;vFC5q9B6f19HS1MkWU9gX3UQNjYeGDh645OUSkr1IAbUj2LxqsW8efeIpnd3fr4A3YJqkcBDobty&#10;ATfvnuPK9Qucu3Sc0+cPcerEYY4fO8jhL3eyZ9d61q9ZTPnIac3KLc22abdO/I9d9fldZ0M69TQi&#10;PtibcenB7CiM4mxNoniXRB6M0vBkXDIvpqbQNDub1zOF87PTaV7aSm9WpvJ+mZYbo8KwtzdF38xF&#10;PEc0tVNmMnrOXOavWELTe5k8d3XrhRQpKPf2lQt48vQKD5QHFPcvcPvWWS5dO825i99z+vQRvv9h&#10;P4cP72H/5xvZtWPNL3eV24du8sL1P3TU4w9d9LGWSOrl4MCU0ji+Hqbm2sgE7o9O5OHYJJ5NFg4r&#10;DyampPF+VhovF+TydlEGrxdreLMgiaaZGaSFe9Hf0RfHIBXasmomLl7G7GXLaGp+zYt3d3XrkZQH&#10;E8oFKHbwuF0CDy9y5855bl07wYXL33P2p+90Dye+Pfo5Xx/awd7d69i4/lf39ZXROnkj/mcHfXob&#10;2VCYrSGvIBJbCfUxHvZsrU7g1JA4noxW8bwhicfjNEyNdSbJ3YEiL1N2VUdxZ0oWx4dEsG9AAPNK&#10;xJ+b2dNZz04AWw5Tl69l5opVPHv3lpfc4w2PRIVaV2wpF/D6xQ2ePbsrxvuSR7dvMKYgmWs/HOD8&#10;uaO6pfPHvz/A4a926ri/Y9sqBjfOanbUNO5U7ijv6usQ0aw8kFNWu3fsY06Hfub8XtxlZ31DAoP8&#10;ydaEsrQ4klsNaTydksmFcanMqytgxqBcJhQksHpQCnuHZ3N4RgUbxlWwubGQPia2/KF3fyz9Iikb&#10;2cjoGXM5c+MCb5uf8q75IR94wasXZ3n96jbv3j9g/abjqHOGc+/6UZpu3uHlpa8Ynl/J0iXrOHXs&#10;AN9/s1s81jZ2bl/xi+oo/3zUTV/3NOXTbmZ007eVSZujKSjEwNYLAxtvehu407mXPX36W2CoL6+G&#10;1oQER+IVEEA/Oxe6Wbhg6OBK9aAqRoidWDoFY+MehGtiBj0tPcivq9ddwNmzJ3ly9SjvWp7y7PpF&#10;RlZP582zN5w79g2N01bz6NJrcketJaVuJ6Gl6ygZtY/Y4iUkpIzi2yNHRHU2s0P0ftOGJb9MvmMv&#10;Zdm5EZ/2MsdaUGN0lBdJ8SFoE0OJiwsiIiqMLj3sJBJ60NHcls9rsxgcZUd5chj+fo6E+TnJ7yIo&#10;0iSwf5iKyNAATD1c6WMZxEf9bAXmxhGTW8GSJQsZWVXNWx6AKFBt/Vd8dfgc1x/fJ3/kbrTVK8hZ&#10;coT6PRdQj/2KoRsvMqJhG4Nq1rNt7ga+ObiN3bvXsHXz8l8mr6hLX1NH/tihP9kJAcwuimZKYQT1&#10;OUGkq3yJU4cS4+3Oldn5mFlaio+v5cuKMKamh7BiSCGLh2Wxa2wG++uT2TVIy+jcNE7PGYi1qSXd&#10;jb3oZeUlGGcQmvKxDBixiCdND7n1+LpIdw0Zozex/+FzUkZ8yait3zPz5mNKj15ANesbSvPGcuvc&#10;WWpSGxmXOYLv1q3l0I5l7N7R/hiobfJGNu506NOfwSnh7BkYw5HB8RyrjWdxuZqYBBUbhhTwXjDN&#10;mYVFTM9T8XZOOhcmpHCxMYXHswto+UzFu8W53JpZRlKoP1fn1OBp40BPE2/dPfugjBK8kotxSxxH&#10;9dILbHvVgn/6eFbs/JbvTn5L04t77PlyB8vOfcOEH26QP2AqN66d4qZ4nCObv2HFmFl8t28XpWmD&#10;2LT6V5xXHr517muKs2cAlWkpYpyJHK1I4OQgNYsLVHTq1Y+tI1J5PUd8/JpcHA37c3+2lpYpWt5P&#10;SqRpShIt87JpmV/I3TnDsRA3+2L/YlzsnOhr7ktnIzcC04uxDNLKhFcSULIT55zlfHNsPy1NFziw&#10;bgJNby4xrqKOR/eu8O7RdW7e/IFbt89y8dIJlq7dT2beUmas+o7k0mVEaQf9Mnnl2VUX8TCdellT&#10;oIki0N4WWz1DrAz0sDQyI1Uby9cjU2lemCkwIJOXa/LxlrRw/8gC7s+s5OGsgbzcUMeRSVUE29rz&#10;9PY5Hh5Zh5+LM/2VNV5G3tiGJ4nuqyisnMyH16/J1k6i5eUJ3r+/wIj0DIm6dwnPmMqEJSc5cOAY&#10;gydsYe/Ra+w5dYbi8ZNJnrqZxq++wa9qFpENq36ZfH/xycqDN8XXDxWV2DogmW+HpvPNsFSmi+6P&#10;KYvjzCi1bvItAshaBIhdn5DA9NQwdtYkc2J0IdemDqBpbiUvN0/g3fUfeHZsC/ER0Rg6BtJBOG/q&#10;F02kupYPj59Q17CGlJwxXD53gndvX9JYPpHJM5ah51xHX5cMbL3LsPMrwimmlJmnL7P94g+M+f4w&#10;g/ccILBuBcVbdv8y+V7Gligbjjp1Nyc9WcXikhgOVsezviySUrUHs4ckcXd8JnyWQctSLc1LlPcp&#10;nJ6Qzo7iWF5PTadlWhYtM7Jo2jySdz/u5eZXG3GRrKi3hbhZE3esQ9TMm72M9OKJOGfuwzZ2BsYB&#10;jThqVuGiXYRF2Aj0PFMJSWvA0DsVc688+jur6RtVxMSrF6g/f4KYqSso2XYY34ZFv0y+u/h15ZH/&#10;H7pb0LOvJdVpUcwpjKM6J55cSdWqM4XzY7N4L0b6dGGegLMEWmYm8Xa6hrmFwRweksPL6fk0K489&#10;N4+l5fRuvlw1lf6egRjZ+mPkEoKbKoeahk2oa/cROeI6huHT6OszBrOACfR0L6GrZSL93bPpaBot&#10;cUNNN8sEDJxT0HdKRs8+GbeSWfw+cAhOQxcRu3vrL5NXtjgqT0b+0NWYf+loSGFqNAdGZFKY4E5S&#10;QhDFmkSq0qOYluDNmQFRvJmVAbPVvJULuD4jmwnZgRwZJfB4RgHNm2TyR5aQn5aIiWsIXU2c0XcO&#10;JHnQaM6/fc/t96+59LiFktHb6eNZKYlHumD1AjpZxdHHWot9aCU9bFT0Ux53moTTUT9IYkYGXc2j&#10;cMydSeiWw7hOXtM6eYekBne7fx3yQXlWq2zC+mMXU7x8Alk7NJFVlTGUqGOJ9vZkcrqWfVla7o/Q&#10;0jQshYejM9mVm8SG7Ai2ywVdnZHPq7n5oKjN14voITDD0j+G7tZemPtFESDYXlVdJ1hnMLtPCyh7&#10;85ZLtAhc+MDCmfP5yCwcI/cckVIGXUwjMfVMo6tpKJ0MAnSLkzraRNHBLJHuLtn0cP7VE0PljRJh&#10;P+pipnuo9ke5iOLcWFGVFBYNjCXGxZ3PRubT8sNkWs418kCSkJYvh/BTrh+PhydxfkioTDyT5sX5&#10;vNs2klfHttHNxEd0NpDudj6E5pWTM3wk6oF1/Et/kXJ/H/5HV0/0nHIF+t5k+YgItPs/Z/D3V5m/&#10;cqfEnARJ0jX0MAuT36hFbWTSprF0Mo+gi5Bd4sgPjtrxbj9PXlmn8El3U5QdasoF9DGxY1p1MntG&#10;pVMQHsSQUHeebhkqFzCRUzXevBgmKHN4mKhPEq9maiRI5fB6RQnN26fh7+7OR4KH+tv7S3AqIzCr&#10;kIIxw4kvKqRy4gBqJo0kc2A5n4iddejtyu+6u/GJfQJbvr/Fj5cFJr94wfMbD1i5ajefOsRIsh5F&#10;N7NYuphF0dk8/BeuK8NJ2zDdLCi3RXnIrPj7Dj3N6dzZlqCYaMbVqKgrjGdYZCDnBmRxo1DNo6p4&#10;XgkUUJ7RvlXWLUhkfb0iF5aWc3zVdPTsgoTzwlkHfxyjNXinZDF09gzSawcyaMpg/tCzL8On1TB0&#10;ygDqZ46ktKKKTv2M+EMvZz7pI1HZNIS1+47y9YkLbL1xjeNXztHHQcWnRkF0t4z47eSVoXxgYOlI&#10;d30LuvS1FqBmLgZsRlxSNEuqtCwW2jtUzZWRkozMy5WJSwa1RNk3K+5zZQ4tK/J4tK6W74/sEwMM&#10;pYe4R2VxhYl3OB5JGYTk5gnwqqR66ghGzhpF/fQaRs2u0q08Hzl3CJMlMk9YMpwKSdj/2LcvH/V1&#10;4196ewsTwsmfupYOJsIQ8zDdxJ014zq1Tbt1KB8aOYc1m9gpW2KFA71N+aiTOV30LJlcquHL4Smc&#10;HyXucaKyYyCd95KEKznse+F4y7oKXq8cyIFJpWzZuhUzzyjdA2UFDpv7xOAam4q2dgh+6dniKodR&#10;OGECIz4byrg5w5gwT3kyXs/khcOYtmQony1XnowPZfHKCYyeMFq37OYP3W34fTdnft/T/c+53j6U&#10;L0wd3OhhYEHXftZ8Igb8aVcbEqMiOChe5s5QFS2SSSF5LHPEXS7MkuS7nPcbarm3pISXP+1nytQG&#10;rAOT6G/pqXu8b+wcjLlvFOGF5bhrUwkqGEAfgQmj1uykdO0iGnasZMam+SxeMYlFy6fw2YppLFo1&#10;iaUrxrBmpdDacaxbO4kZs0e3c92nbbq/HY6ahu9toip063R69rfVrVPr0M2Cjl0tWCRqc0vc49sx&#10;GpieybsZIoHZhZJ0VwlELuTV6kFw5yfGDKsVF6nFwNoHfVtf+tv6iLhdMfKLoKRhBi7x6fR2j8FM&#10;U8St5nc8eP+Kw/du8/rpjzy+v5t9uxawY+s8Nq6ZyLpVjWxQaIXyWH/sX+d6+1B+0NPQil5GypoE&#10;KzFeCzEwsYVexsyqq+RQTRHnxuVzZXQuz2al82ZJNo8/S+f57gZ4eplZ08dj5S/h3T0CfRtPzD1C&#10;6WXpjoFnmETTaGzCNHSw8MMoKhMrTTFXPzTzQtLAt01Hef14B8/vbuLxrZ1c+mkju7ZMFvg7nq2r&#10;6//9ibcP5Ye9je3EXdrr9jV07G4mF2Enbs1K7MGB5JgQxmaFcbY+XnRfw6vFeXB6I00/7eO7g7sx&#10;8NJi5hYpqaEPRq4B4qt9sROvY+QfiXVQEp8Ye2LkFY+hfzqOqiKauMq7V5/DiwO8fHySF49O8eD2&#10;AS6eW8y3X87STVwS7uFt0/u3h4OmsUL5g25irMrkO+vb0VNPcls9G/Rs7IkP92dKQRhfjMnh6oR4&#10;ni0rp+XCDlq+msrJnUsw8tWIjw9ET1TGVHJZY6Eejj6oqoZj7BFLB2N3+rnE0Ms1Aj35rU1EkkDj&#10;Ozx/fVe3FuHJw1vcv32B+4LpVZVT/vYF1k6axu+UP+pr4kJPYwe667ZH+GHh7IV7gC8zKzQcbCjn&#10;5uxi3qwdRPPBabzdMZgjUyvpbRdGT1GNvlbedDKyx8A1iKjCQZiHJNHZVPnMk57WQZIP+9LbNZI+&#10;7rE8eqos+X3Ii+dXefzwKg/vnmXEzNV/38pwZShPr5U/7iIc72nshKGdO4bKOvygENQRgUwtTuLJ&#10;ohpYW0XLxmqa15cIJkoR/+5HN2MP3VburnLRnU0cRV0SsAvX0snYjU8N3elq5kcnU18JOoJd7MP5&#10;6dt1tLy5qbt/80gyqbTB8//+ibcPpbCGcpCu+jb0NrfD0s0H54AQolTR5CT68WhGOSjrMNdIsFqW&#10;QUagEd0MneglAaqLkSNdlTU8Irne9j4S5j2E6650NJHvRO+7iRS6mUiCbuHDw89Hc2rrOJwcjXU6&#10;/g9P/NdDOZhFYHqzqXDf3ieIcOF8WWYEqzI9YZEkIisFKkiiYm9kRMd+dhjZ+eu8TVeRWAexmT5W&#10;PnQUSSiT727uI68udDQWdywXpi9/07SljIerC9onPrLttP+80c4R5W5YYGgQs4YXcmCYluuTVLAq&#10;mbcLVegbKFHZAT0rL0zEy/Q0d9ctYexhoexRctYtXelh4U0HAyc66bnTsa8zxzcM/edz+6+N9hMZ&#10;OgQ0LykM4+7kROG+iscSdXsqqqLvgrlzKH3M3LDwjNTBBD3JZTvLd8oG9H42ATJ5ezrpO/88aZek&#10;BsO2w//XDEdt6+Y3hT6rK2z+ZoRKEglvcakOYqyu9FGWBUsm1cXYBcFNOpXpZRP684IJhdoO9b92&#10;iGtd9etJ/TWSC77X9if/5w1lD71c5Mo/veh/hBSGOSU15rSd4v8bjuqxwb82m1+o4YNLbGqzT7Qf&#10;SflqCuvSGTAynUGNuVSPz2DQhFaqm5xN3ZRMaidnUDM+Tb5Po6oxlcr6VMpGaykZqaF4hIbCYWpS&#10;qjKa/bPrfrPY6mf677bU7T9j6DaU/uai6z/Y+IU223o5Yuftgp2vGw5+HjgG++IbG4NnZBju4aG4&#10;hobIZ+74qbxILlWRU5NC0dBUBjYoi8HyGDItlyGTc6iZmEnVuDQqlIVhYzWUjtFSOEpL7jAV2UMT&#10;dOXBlHVWyq7HrKpYcgfGkV4QQXD6n2/r/C933v/s0b6itJ0c4mtabFwdsHZxwNLZSVcAw8zBHnMn&#10;Ryxd3LDx9sElKAgH/9b1XsrKoaBEDc6h4dgFBuAY4ivCCMQ1zJ/wlBjSK1NIr46jemIWtZNyhZR1&#10;YbkMaMigbGwKxfVJ5IvmK0zPHqIs/lGTXZdIRk0cGdUxZAyIJLMonKziaLLyo8nIiyFTKCbjl22o&#10;rfRfuGr1Hx2/nrgk5QLqrIXJllg4WmJpL+9trDCxERBnI+DM0gYrd08sPSTrEtQalpqJr0qDT0IC&#10;LmGRWPkE6ArcWfn4y/dBIhRfXEJCcAgIECEEiBCiSK3QitbnMXR6HtWTMikT5hfVp5A3Uhg+NPFn&#10;jc+ui9cVxkuvjhXmJ5A6IIbkkliSi7U4BytVOETAAT5ybHkf4oNPTCj+8a03u35F/3zw+I+O9hRA&#10;IevwohZlb7GhhRWmVsJkc2shC4zNLTGRVxMLa4ytbLFy9sDY2lm3ocJEULe1ZzCe4fF4RyYQFK/C&#10;JzIGMxd3PMKjMHOV7NLFS7ezQ6ly5xkRL5YSoPsuICGetIpUcTM5FI9JJX9kMlnDNEJJZA5NImNw&#10;EmmD1CSXy+8GqISS0JYkCilr+aLxS4jEwisIc+8wLH3DsPJTKFzehwopa/iCsfMLxT6g9cZdO7Vd&#10;+v+60Z44KtTbyIJ+Ribom5qjZ2JBf0MLjEyssbQW5kpiaCapiJ25DY7WQrbK3mkrHO2ssBWy0r1a&#10;4+Xpgn+gF2HBfngH+gvQdsHK0xMjBydMnd1xFJfkJBZgJ5agbAhXqhDZyWeBSaLhtcXkDcsW/55O&#10;ao0GbXUSiQMSiCyLJbYknhBNKIGxIXiE+hOTHktcRiyB8f4kFSQTmarW7ZZ3iQzB0t9LmO6Lrbg6&#10;Sx8/YX6oJLWhOISIFYgrjNYk4J0y5Oc48R+qj/XPHO23GxTq0FNPt6ZR39QWA0W7LSywsTbHz9GC&#10;RDdzsnwsGBBmw4hYR6aqXVme5cNnCfaszvBmntaNoTEW1KY4U6p2IivGjtQIB2JD3PH18cTZ3Rdr&#10;RzesnVwlVrjpYoOTMNvGy1sCdAC2foG6HfpBmiTiC9NIr8kmrSaVxPI4YotjCCuIwSsjjICUMEJV&#10;4XhHh+EWFUl8djJRKXEEJQSSU5FBVnkq2aUp5JdoJQaoySjKILNMYkqZFk1+upCW7PJswmIDScmQ&#10;oJ2ZSFaOirBfBWuX9Ibft7HnP2cIYhnQfrJOfc10O0K765nQ38AYU3E1rnaWBNiake9tx4RIFzak&#10;eXMgz4/jJd6cHxTM1cGhXB0SwvURQqPDuNEYw63RkdweFsnNUSr2VITSmGxPaqQt4cEuOLi76oKz&#10;lbMzLn4SFzyE6Z7ikwODdFUEvGLjcI+OISojg/iCTFIH5pE8MJOE0iQi82LxTY/CKT4K95gIItXR&#10;RGtVuIZEExAVi0dQAOpMNUliBYmacOJUoeQWqvGLcBe3F4m6UCuxIQvPmCiJL/H4x4kFpcWjzRXm&#10;F8STU6wiv0hNQXESPqnDfhZCG6v+uaP94Hqu/9rcqa8R3fub0KufEYYGBjiYGxPiakOmvymDg8xY&#10;LRp+JNeH0yW+nKn05eJAf64L8+8MUbaqR3JndDi3xoRzY1wEt6ZEcHdGJJdG+3F1dChXxkSzuiKM&#10;sjh3ggPc8PLzxNNLfL+7Ny6i7ZbOrth6++IXl4h7VBz+mhSic/JQl+QzaPxIsmpKcI4KxtzPG/fE&#10;eCxDYzH1CsYtMARVUibhEal4BkSKNbkTr5FYkJFEarqGFHE9qZlRxKcGi3U5SjBOJqeqSAQdJsE+&#10;HJ+ocFLyNQJPVeTJd4UlgqhKk3VUUiLQtqS1XKtC/+Fbrv/eUKofth9U9zRXeaqlZ0ZfPWOcrCwJ&#10;EhST5GlFaZAjn8W78XmaH2cKgrlcFsjlgYFcqgvh4pBQLg8L47ai6RNjuDkjjtvzVTxamsrj5ck8&#10;XprEk4Uqnn+WxMPp8Rwd7MvkNHcyY/11ddk8vVzw8PDETwKsd2ikBF83gZ+hgoxSicwtIiQ3m8px&#10;I5m+cj7Dp04kqWgg1j4qXa3IXkolB/MQOpsF0MXcj+4WAXQ3C6W3fN7bIoj+NgHo2QSibxeIgZ2b&#10;xIYkCoeUkze4SOBsiW7hvFO4aH1mBmkFqeQVpegYXyKuqqRCI69qiss1lJVqRQAaYrIG/HOsQHmU&#10;ohzEMrysRVnDqyxC7tLXGCMDMzxtHEkRrSwLdmWaypu1aYF8m+fDueIArlQE6lZUXxkewY2xcbo1&#10;vvenCLPnaHjwmYb7i4TZCtNXp/J0XRrP1qXyfGUyzxapeLFQzaOpcRyqjWBQjBOJkd74SwD2kQDo&#10;LK7GNTgMh6AwzDz98UtKJyy7iLiiARQPqWP+8jnMWziZi1dO8eDJTZ6/es7zl684fe4KS9ZsJ6Ow&#10;DmP7UGG0ip5mYfS3jaWvTQK9rOPoYxtDP5s4+lrHiNBa3/ez1oqQUulnH0t/uyCsPPxQZaeSU5pF&#10;vsSK4upMSqrSKa9MpXyAhgFlKgaIyysq1vxsBW2s/NtG+x/3c4pu7tDDkI49DenR1xAzSzuCXK1J&#10;8bVjaKwbM9TO7Cjw4ocyPy5UiU8fFMrtoeLHRyn+PIbbY2K5Oz6Wh3O03F8otFTLvWVqnq9J442y&#10;VnldOq/WpvFqtbLoWkPTkmSYq+ZWYzj7a4IYqXEnJcKbIB8PTJ3cBINH4JOYjGVAKD6aNOJLK9HW&#10;1ZBSXcGcVYtYvWkV3584wovXj3j6XKmHrCxOvcOTp3d5+OQ29x/d4M6Dc9y4d5Jbjy5w5+ktbj65&#10;wZX71/ju9E2mzd8kDB6EjU8c+g6hIoRIEVayCEktQkiij51at1Vcz1nISQRlE4SJSwjmLpIY+voT&#10;lhCDOl0Su8KMnwXwVx8U/qXR/kc9TP2alUIXytP/Tt0MsTK3I1JOkCdBaYzai6WZfuwrCuZYeSAX&#10;6kK5rmx8GBrNnRFx3BopjK9vKxg9Q8vj2cm6ReKPFyfzVATwcmUqTavTeS2ke1Vqqyjrrpel6O6o&#10;N4mFXG2I4vPqcAapfAgUCOjsE6zbBesYJgEzKQVLsYDw7FwqJ0wko66asfOms37bOjZuWcmrtnWp&#10;L17f0tVlffbypm6R+ZNnreu0lYW2j55ca110/uiKrj7L/QcijLvnuXHjDNevn+XkyW84cULo+DHO&#10;n/uJsz9d4PjJn9i19xCjxs9GlVsjWXkq1h4qLF21mIhwTJ3VGDpFYOQcJa+Rv+QG/9YG7PYhwUKX&#10;XvexC2/+QxdlFbIen3TTw8jYjAA3OzJjfBie6MX8dD925gdxpCyMc7UxXK4R9FInwXR4LPdGJXJ/&#10;rJoH49S6GjAvZqfp1oi/nJsqbiWVV0vSaFqawfvlabxdIUwXUl6VRe8KvV6m4f1C+f24KG6PjmBN&#10;eRARXuaYWbjg6BOKsasv7vEagjNy5FWNqnwAo+bPZcjkCWzYtYWV65bz8v2T1pXNb1rXl79susmL&#10;V0odGRFG22L5dlKEoCyavyd09+Flbt+/KJZxjmu3z3Dl1imu3DjOpavHuXDxOGfPHePM2e/54Ycv&#10;Of7953x5cDP79m1iz+eb2L5jA5/v3c3unbtZs3oD02fOp7Si7tcW8NsFCr8eylIR5Ucm/tktH3XR&#10;5/fKMqnOygJ8I5wdXYkP8KAozo9xqWEsyYpgd1EE30mafm5wAleHipsRuj9KrVuYf2+M+PgJGh5P&#10;0vB0WjIvZwrD52Tweo4wf55o/bw03oslvF/aulj//cr0nwvzsCSF5sWZNIv2v58Vw4lh4dQnK6Us&#10;PdCXhM05RFyCszdOkfFE5BSSVFFJzZRplAwfxvJN61m4YhE3HlxvW9zfWsDn9VtFCLd1glCWmSvU&#10;vuC/XQhPnl4TQVwRS7jEvfvnuSsCuH33LDdv/cjV66e4dOUkFy6dEAs4xo9nlYI/h/n++BciiP0c&#10;+24vh7/cwaGD29n7+ToRxAq2blvOps1LWL6i9cGzQm2s/u1Qtr61/0C39r6zAX/o1F9HHXubYmXv&#10;jpcgDk1sGNWZAcwfEM3m8igOlsVwalACl4cmcHN4AncUrVfW5tereThOw5NJou1TxKdPF+ZPE5qa&#10;zGuxhnfTUngzQy0C0fBmUapYQYYwPp1m0XxWqGkR5PN+UQLv58fxbKqWNRJPAjzsMbf0orvy0M7J&#10;CxP3YByDY8mtG8mAseMZNWs2izZupH7yJJatXcnLd4/b1veLAN490C2R1wmjba1/+3p/nSWIEB6K&#10;W3qgbB0RV3RfLEBxRUqFpVv3z3Ltzmmu3jjJlevHJaAf5fzFY5w9e/TnYkXf/3CAI0p9/a926Yqk&#10;7tu7QSxgLVs2LdOtUp84Y47Oo4hnaS0F/uvRznhleVo783/X0UBXMr9bfwt8BdplJseRnyTJjasd&#10;psb6WFkakxDkzjTJJL8crObk0ETOD0/khtBDEcLTevH3DVqejdfyaqJCGp5PSef6+Bz2lESwvCCM&#10;pQXhLCsMYU1pMFvLfdlS6MT3g0P4oUqQ04hQnorFvJiVy/dDoqlO9MbS1IauZg5Czrr6hu4RSQSo&#10;0xg6dTYzVq1n2rIVTF24iMENDbxofsPTt/d5LlqvVIDSCeB9qxAUAbQLQdkxoiPdvoVrPHmiPLi/&#10;xtPHt2l6/oRjhw5wWXz/V9tWce/qCa5fO8X5S8c5f/Y7zpz+hlMnvuLEDwdF+/fx7Td7+OrL7RzY&#10;v1lXClfZXbJti7JNYBH+WeN1PP55SZ0ylEWNyoe2bQsbP+mulAMyo1NPCbRCSunWPobmeHq6oY4P&#10;ISMvnZT0BJKSQkhSBZIQ6UpxSiCTFUaWRbK/Opof68RfDxetFd//vEFIqXU0Ip5dAyKoi3InK8SP&#10;Sk0YC2sy+LIxm/MilNfLini3JI8PSytoXlXB8yUDODUlh7lpTuyUuLK+NopoD0f0jK3o0d+Kbvp2&#10;dLF2FAEkisupZ/TsBYxfuJyG2fOZuXwVd54/40XLC162PKZJ6G1zKynu6I1SiquNdBtGmuS9WMFL&#10;QUZPn79g9eYvKKuawuFjV7h58xzv7l3k5qEtnFo/h2fH9nBw7TwuiPv56Yy4oNNHOH3ysG5TydEj&#10;e/jmq506AXyxb7OuP4NSumvzhqWsFTTWruStnJfR/oF7QAzK+pYOwnBFCJ8KylHQTk9DMXNrH7qb&#10;ONDDzB4Hyfj6WDrQydCCLobW9DK1063I62tohZ2lLcl+Xswq0LJ/TDG7hqWwoiybwbGBxLlb4yLW&#10;Ym1sjHkfPfobKruJLdETFGVgplRXdMHYzhVTW2eMHV0wc/HAys4DRycPXQVGx4AgSZ78BEWE0cPU&#10;l34O3kTlVuIaqSW1YggN85aL61lAxahx1M+az8EffoD3L2h+91AQzx3eNz+l+f0jju/bzrPz3/Hi&#10;/k0u/HiFF0+f8JLbXLtwioeXbrDv4FmiYkezdOF6HboZPnYJFVULKa74jMohaymvW8DosTOpqqwX&#10;vL+AsurVJGtqOfyNxAGxhm8O7+Kbr3dx6Mtt7N2zlh07VrNFtF/ZohSQ3ar9v6lcpJDCdAvHAEmm&#10;lFVRprrNM590VWqoOWFu76QrWuge4E9QdDiOXh6YCOa3tHPGxcMHdUoyhibOdO3tRJfervQ0cKSP&#10;uT16EiR72PliYuHG6GJBJdkplGpjiAoORJWiJaW4GANhsr6TJ6buPrhKFhuVkkZfJ2+iY4P4fEo2&#10;52YVcmnJNBwsHPj6x1Ns+GIfRh6SmbpH07GHPZ/o2erWR4QkF1I6coJkp6Opqh/P2WNf8N2Gz/jw&#10;8DzvlELWzY/grcSAZw84fugOlVXryMwax/Mnr3krrujls/t8d+wUEz/7iu3rLjF22A6iitaw5Rpk&#10;TlxPyICVuGcvxa9wubxfx/ANN9HU7sUnaSGxuSsJV48nMryS/JRyvjvwhW5/jOL/d+5aw66dSt23&#10;ZYxv9/26esqahiTlP+bBhS0Kw/sYO9K5j4VOAH8QbG9obY9/iBepyUFkJ/tTmhbEgLQIqrKjqC6K&#10;pSQvBq02nLDYECI0EeIOjDHob4OPoxs+znaSDffHzNaJNUNyuDMjm7OTUtg6RMWi/FCm5gUyviSa&#10;CeJ6ZowsZeKgTOaMKmbqqArqKoporCtlfrWaDQNj2FiZRHlyLGaSZRbk5KIK8sTAwoqP+1rwUW8b&#10;Yb4n/e39SCisITSzhMDUfNIGjOGb4y/ZvPkoLbzhvfj8t+JyPrx5wrixS4nLWUhO7Q5qRq/ku3PX&#10;uNvygbm7f2Da9mdo6g8x9shZpp97hXbR90z78QFTf3pA4Lg9mBWuoHbnbaxU1Xzz3TnuXLhFUUYd&#10;pemTGaQZw5Fla/l212q+/Worhw7s5PPd69izc5XO97dv0FNI0XrdSoG+dmHNyr4fZSW+q3+U+Hkj&#10;0X5DQoICqEqLZHZxFBurE9lVm8yO2iQ2D0xkU0UCKwYkUp8tQkhNIDVVRT8jc0amxvFgRj4Ppyrt&#10;fgaRHeyEg01vLs6o5sPcTB7NyuGbwalsq0lkzYBINlQmsl6Os13+f7hRkrH5ObxeXsjTBUWcGKLh&#10;1Ihsbi0aSn1xDuFeEohnVrJ2cLK4MFs69Lemu5EXXY3d6WjkiFdCFgmlgzHyiSA4p4K4gol4xgyl&#10;aOhy5q87wZGLL5i162vWf/+YyIwNBGumUzBuM5tuvuTz54+58PwVI+ZsZvzyL5iwZhuHXjxm2ZOb&#10;TH/6mJjN+1l4+wODFnxLfvlcTnz3I1fOH+P2+ZN8uWYvY4rG01DUyJi0Wk5+vpcf9+5hYd0EZo4e&#10;z6Fdn+vQz4aNS3/FfE3jOeVNLzMX3eaTDr0MJdgaEhqfxsddepIYGcbQ1FjmZ0Swsyyaw4PiBVpG&#10;SUCN5VxNLCfl/6uKY6nJjtGVsbCxdWD9YAmeU7S8mani3dosHq7OpNTbgxBnZ+59Vk3TzFhapql4&#10;P0MSqskqXk1K4tWUFF5LPtA0S827eUJLMmheUsSbecXcm1vF24NLcXSw4szhfTzcMIkNdRrcxRV2&#10;M1f2RCldR7zpaCjnD1IRml2OvmcoTjG5JJbNxSVpNg6ZK8iYfwXrgVuJn3uUcV88YMu3x2h6/SPv&#10;3l3i8r19fHh2jitH9/Cm+aqgpGs8e3qZZ02XuSlQdNXu3cxfu51d+7/h6cP73L95hhvXv+fG1TPc&#10;u3aGm+dPk5dawZLZB5g2WAQ9YQ07th1k5szlRASXowooZdv6vaL5O35hvuDO58qbvqYSTA3E3fQ2&#10;ppcEUQXh6O7pdOuPva09akEnI7PiWVCWzFZxE5vqUtkk2ruiQkN1RjTdLA2xsbOgtjyNfWNSeDk1&#10;nbfz0mnZmMXbZcr27RQmFYdiYqPH/tp8nk4v5K3g/zeT1bwVAbydpKVpoiRXkog1L8iHhXk0z8vl&#10;nVJIcdkMSlMziE5M5sPj67w4tJpFlbE4mCu1S9zpb6ksqfSks5E7ei4hOERpMfQOwSpMS1jOeLxU&#10;UwmIn8K0+YfYuvccIfFzcbeL4fn907xrOSqB+EdxS0c4tHoKz88clbggGP/ODbIliO7fcZIVs1dz&#10;4+xZXgn8fPHoJieOHefO7Qfcun2Fi9dOc/baCY5dOE3t1GXE1y4kedQarFMmUrt0P1O3fUniyLXY&#10;qUZgkVBF0ZzW7VbtzP9CeWPoGNysLABUqk4qGyGU8pkde1uiTdIwOE/FuHwNU/PTmZyrYUa2ipm5&#10;sUzKjBCMr2ZCoZaSBF/Kxf3Mr0nm6HCNaHEmLQuF8SuVLFaYKonT++XJXJ2ezgS1N+m+EhMc7fCy&#10;NCLAuj9+5r0JMtMjzFyfYKFoc2PyJJ9oVEfww8r5vL9+QWLljzTfPMaTo5sYnBJGsAAAYxtvjByD&#10;+KSfM51EAPpuodiEqTEPSsAjMpsBFZNobnoDL+/R0ix8fdPCrunr+WnDAj48OSyfnZFocIEP726w&#10;edx0mm+dEaZexidhOjG5qwhLno1/6gTsfPJw987GykEjiKsQH+1IRizexdC1u5n6zVEO3rzMngtn&#10;GLXzCyb/8CPTT38nr0cYsfcYCWPXY1c+mpy1m0id1trfoZX52saJyhsT7wRhvrXASiud9nfobcJH&#10;nQxxcfOkUpg9rySRHVWJHKyN5/iwVEn5U/myVsOS0jiGpPgyc2gaU6vi2SuMvzo6SdyJMHxBlm6v&#10;RMtSja6VgNLDqXmBGuZrOF3rw5qSEDZIonV2RAbPJuTQNCmDphm5vJ1ZDDMLaJHkqnlBMa83j+Xd&#10;cWXN+QGaz+3nztcb0Ab7EBGWiJVToMBfF4Ge4naMXdFzDcY8MA6b4GQqhfFnjvxI/bDpNM75DovQ&#10;mYTm7scxcTaWAXVYBQ4kKGsywVnjKRu1kfCESSRkjiY0tR5PcVUGHqVYBZVj6JWHbVgZTpEDsA0o&#10;wtq3EFvfUpxDCtH3UZM/fytLLp9mzsWjZGzaxMgT31J//Bi5K3YRPnYtw/ddJmHmVmKmbiB+Uuv+&#10;VB3zlUq3yhtHzdgPPSRYdtMzFeZLsBX6tKsZv+tujKOnL5XJCUzPTmBJiUYCpJp1FSrGZ4dSkhFK&#10;foYgn8w4JolwPheh3BuXo9sq8XZOKi2fie9frKFlkbxfmCzM1PB+roZ30yVznZzJ9vJo5uRGsmuQ&#10;iusNmTRNzqdlajbN0/J4N7OQdwsrebNpLM2Hl8Op7Xw4u5PvtyzA0UXyAPHrRm4BGNj76Iqv9bDy&#10;Qt89CJe4DAJTKlm54gBNT5oYP/NrHHIPEDr4MlYRG7BTz8cnZy093EfhqF6GuvYopZOuYxzSSH+f&#10;CgnWlXSyjqWvoxbfxAY6mkZiHVhKf+dMelhrBeZm4xBRRj/7RAzls0+d1XTwTKB/XAmjjlxk0Hcn&#10;GfXdddRz9xHauA2j0un4TdpI2sbDRC7e8gvzf43zO/URjZeAqyAeJcn6vdLSo6sFH3cyIioqhorM&#10;WOpzwvgsT+ChMCwtypV0bQQZyTFkCnbPTY5igEDSSZLpbqxK4uiYXE7VZ3K8NpFTg6O5MiqS51NV&#10;MDtZGKvlpa6LTTE7quOZK0F7Q4mao4PTdKVaX87Ik4CsaH556wbMg4to/n4DzWe2snr6MNyDQujj&#10;4o+JZ6D4fC+6SY5h6BwkGp+IqnIkMzft5967D1x63sKc3Weo+Ow7rJI+wzxqCTaxS7FNnId+UB3m&#10;YbUYuBfTyzYDA+d8+lpnSxCPoaeNGmMXpQ9chq7ZXDdLFR8bhtPFIo4u5nH0E8Eo9/Z7WcbTzyoR&#10;Pfm9oVMKnUyjMAmqIHb4Fv7/PlX0Sm0gdNXnhOw9SMiuPXgNbV2uL0BnYCvzNQ27lA/6OUY0Kw/F&#10;lV2rSi8VZf+kUi72d11N6Sz+PzE6lPrSGA6MTmbDoDgml0RRnBJCdKA3mqBwSlVqapLVjE1RsSI3&#10;hSOVaVyo0fB0uDBcIOT7cRqYIto/LZX3E7Q0T0jn1cRUHkzP4eT4TKaleLOkMp3d4tpOjdLwbFou&#10;7xcMoGXzGFoOzKD5q894/e1u7B0c8RZIaeERjqGbuB1LDzqL69FzDcQ/JY/IggriK2sZtXkXX16/&#10;z42mtxy/dpU7L18KinnHq/fNPH4Li/ddJ6t6DfZeRZKtR2HsnEYv83i62mrpZqalk5EIwS0Nl/CB&#10;kgSmSTKYSk+rOEw908Xq0uhjE4eFV7oIPkz39KubRYRQON0lmHexVvOJdSr9MhtwH7OcXjGVdPHO&#10;/K3Wt4/2DxWs37r3U5jfWbReXpVtZB91s6VLXyuiEyKZUBHL52OyODBUxTrB5oNTw0jy8yPa3p26&#10;1CQacxNYWBjPxpxg9mZ68m1tKJfrorlaEcqlIVHcmJDMlQYN20tVlFn1ZmtqBMcGqdlbHcSZxhRe&#10;zBL3MzdLXE4eb5eXwJYRtHw+lRdfr2JoWTl9+jsTklZCPw+lc5iKnpJcGftE4ZKQSkB6LuH5RUQU&#10;FEt2WoGbwM2P9QP4l74B/LGPst6niHHzd/P9lafM/eoS9/hAy7v7Ah9/Ytf8PBrE/W199pyQlbuw&#10;yx+FpbiXHuYJurrAPSxjsPTNEmtLoYtZCN3NQzFwiKOnvO9rEyWWEM0fjfzlu0ihCDpaKls9hZQe&#10;O45xGPrntN/Z3NnG9tYhZrBN+cLAXdPSenPNmI+7mer2rn6i3GZoo449LYkSATSUaTgqvv2yaO3e&#10;MZkMyYqhLDGWysQo5kumeu+LyTR9O5rmY8N4d0ncxqVGPhwbzocvBvNhZy0360N5OCCMpjGJNE9P&#10;FqyfwMPGGF7MVgosC9RcXMDbpYW8WVPJ++3y91/MYd2k4fTVs6CzpT+mXrHo2QfgHJOFfWQyVqFq&#10;AjOLSaqWpG7YUNJr6kiuGkTFhGEMnCjvBxRj4OTN75Xitr3s+WNPF/7Yw42Ofb35tJcT5nbBLJk8&#10;iwsXbpK381v6TV/GpievePD+Hq9a4PT5a9x58JZdO49RPXAqRqLheuKe+luo6GoprkgY3VE+62Ua&#10;LagrSkheTSLpbN5KncQq2hW8jeW/He1f6nb6C3XuqxR4NtUVee7Yy0IyXnOdAP7YwRR78bVpaVEs&#10;FKSyWhDOuPIwKiUZKwrxZ1FuJvtKUjhWHMOx7ECOFYVwY3AiTaPSaBaLeSGJ2buRKlrmKdV8U3j7&#10;mYY3EoTfKh0PFou2L5FgvayI98tKaV47lEdbZrNgyCBMbH3oIli+s4knvS2FrL2F6Sn4pRTgm1qI&#10;e1IapRPHUj11AvElhaQNqqBifA2Dpg5iQGMV0TnJDJs6nuESM+om1jJ4wlAKagZi5ebPxz1s+Jdu&#10;7nzSx5nf9XDmo95iLZ1dMLAMpXDgTHYfvMy5y484d+EiL18+4ObDy9x9cJMf7zxk4fGzbPziJOV1&#10;UzB2V9HBOELcYKQE51j6OSRKPInBXjVax9ufW9z+pdEuAGXvZB8Tm9Y9lHqWvwighyWfdrLhjx0t&#10;5HsHolQxFGaJJUiyNaE8njG50br9ZdPTgtiQFcq3JQn8WBTJlcFxPBII+n6yJF7zM3WPCxXo+W55&#10;iu4hSssyyQuU7bur8gWe5vJmVRmvVldxf/0wDmz4DAv/GIycwnTM7yHM72XmKe7AjX5O/gIto/DS&#10;5uIiSVhSdRXaqoEUjBhFzrAh5I0cSM3UoSTkSTDU0ycxO4cR02tEANWMnlFF/exBjJxeSf2sSsbO&#10;GUTD3OFMmzuB4iFDMPHz5OPegviE/tjPlt/1teF/9rXn/yfC6WoeQUBSLdULtzF10xdcud/Egu+O&#10;MkSy4K6WknRaRUmADhDtD8bAO6t15fOvy139paF0TW4XgLGNsvfZQaQvabyYe7f+1iIEKzHZtkDc&#10;2ZT/u4cp/rFx5GUmMF9c0c7h+ewUzH9gTAYnxqZyZ1wWzybm83JKDm9mZcGCDN0O9ZYlkgMsVep+&#10;ZcCyrDbGF9C8uhBWlvB8Uy0/za/gm2XjOXrsCLbu0ZhKAqWgmp5mbuJHXSTIeWMguL6vuB9zv2ic&#10;45NxV6cSVzFQV3lcXVmJtraGvPoRlE8exZB5oxg5dyiTZtbQqPSFVWjWQOpnVjNqTi1j5w1lgtDE&#10;z4YxadEwpi0aysyFQ5n6WR3zVtYzY2kjw8YNx8UvqPXOby9bPu3tzMd9vCTJ8+H3vTz4l14u/KGf&#10;G3/s70EHPT+ZV14r44XaWPxvj/aydQqZ2Lui7OE2tnGhn5k93fUt6dBXsQAzPu4gGtHRmn/pYIKJ&#10;jQfVWYlsGJXLYXFDPw5N5PrQON6IT28ZJ5otGs90QTmzlN4jkngtFN++JF2Yn8P7lcU0b6imRRj+&#10;dm0VD5eWc2X5CH7aNFOy0HMsWDgffVvRcO8YgYLe9FX2gosAulu4oe8SJIgjCscwjUDGYEKyiwnM&#10;LhDmF+OuTSO+qo64qmEEFg3Cr6iW0tlLKV88lUFr5zF03VwaVk5n4vIJTBEhT13SyPTF9UxfOpqp&#10;i0Yya0kD85dOYN6yiSyU3yxa0ciiZWNZsnwsy1c1sGrteHmdwpIVcxkzfhT+4SHCl/78sYu5KKeN&#10;BOSwv43x7cMlvaFb+x8qy7gNLJxQajAo5eV79rOjSz9xP72UGGApaMhKh4h6ClIaVZzMliFqvh+S&#10;xL3h6bwfJhltvYrmiQrElP8Ltn8/UyxgZjbv5kgy9plksyuVra+Debq0mMcSaB8skdeNkurfOyVp&#10;/1UaxgzB1DkYu9A0+okQlD2OPU0cBRYqBdEDdI8TewncdI/PwD5Kg6s6nYzhDQRmFeESL4lSap4I&#10;pJKeHjHYJZbjnVPD5vOX2Xv9HMee3uLUu2ec+vCGz29d5PLjq5w5vY9tm6azfv0kYfAkVqybxsq1&#10;01glr2s3TGHN2kbWrBnL2pWNraXuVzewdsUYea0XGsGGNSPJqR2vw/OOv27G/reOdgH0s/LQ3XrQ&#10;FQKQ1x4G1rr99J37Wus6LnzSzZw/drala0cDyjSC8+tyOTIim5/EBT0YKkF2fBZvpmQKzi/g/dQS&#10;3s4q5s1sQTPzi3izqITHczJ5sShPt3393fYxvDv9OS2PrvDh0QVGDa6SJMYP64AUzJRCAU7B9DFz&#10;xtQpEEMHf4ycA+lr4a7bl2/kFYaeu7LUO5aIvEr8kgtxS8jEOTaHLvbh9HCNQz8iC7vUMjxyyzj3&#10;5i13eCmo5inPWt7Q9OYeLx59y4vHu3j5eAtND3fw9v4h7l/exY/freTQ3lns3jqF7ZvHs3PrVDau&#10;ncBmEcYWEcbm1ePYsmoc7qmtPPs3y3n+R4cEiivKwRwSh0sgthXm29BN3E9vI3t6GdrrCnooKOjj&#10;HvLaw04H5f4gyKh3PwvcbVyJ9fEmPz6EsfnxzC4QKCoZ8NZhqTyancqbhWINC7UgLujJZ+k8XV4q&#10;EHU+zbeP8uL2CZ4Lbd24BnPJXs390zHxiMfMLRx9aw/6SCyy9A4RgYRIwhUiGWYAJv5RGPqEYx2S&#10;SF83yXgFgrolZKPnFs1HJl78UYK1UYhWstt0jMJzsYjNI3nkOM69VpYWnuXp4y9582qv0C7ePxV6&#10;uJNn93bx6PYuHt7aK6/7uHdrF9cvrxfrGM6uTY0c2DmDnesaWLe0taiCQn/WavcfGe391RTqZ+Pf&#10;3LW/hU77leYQSk2DHkqtPhFC197WdO9jQ6d+NoKhreln7Ia5izfOHn6kx0cxIiOSMckBzC7V8tXw&#10;JI4Pi+TZLBVvF6bxaIEgnT0TaTm/k6ajK3n/7SLen1zHj19ux94tGD3PJPq7RouPj8bKK4Le5i7o&#10;O/jSz84DU5dA+th60kdgo753GNFF1fhnFGMRnIh1oFbgXjCfClL6xMhDEFK0WEesrtSAUUAyNjH5&#10;2EZnMmP5Z5L9XqDp5THevPyR1yKMVy9+4tXz67x8dpMXT27x6sk1Htw5yYPbR7hzbQ+Xz29k95ZR&#10;uKW08kboP9bz7e8ZjpqGRe1C6CLws4+BA31NnAT+KZ0+BZYa2ApJYDZyFFfgpmsjaubkiYmzB8Gh&#10;/owqimZ+eRQzi6M5MqmCH6cN4PZMSaiWFPFyZRUthxfRcnY9zfum0rSvkXdfjuPLmUPobyTIyy2W&#10;btYB9LDyk4zSF0PHABGABF5xQUaCerpZuuEQlUJ/CbxuSdnElg6jr2sYPWwCRUChdDQUBGLkKe/D&#10;BSGF08U6iP5e8ej7qXVk6KchNr+cptf3dKSs93z5/AYvnt3iuTD9ycNLuoYaj4Qe3P6J+7fPUD1h&#10;6X/u2vy/NCRF1rVIVKizou2GTkLCdCGF+d2M7HTFMQxs3bAVbbT2Ehfg7UVUuB9jitOZUZrDpqEF&#10;nBSY93xlHW9XV9K8qY6W/eNo2TyM95sF/WyvglVFHJ5URudehvS2CaW3lTDZ1Jsuxq50NxHhSvBV&#10;yrR9omeNpU8kpj5RuMalE1NSS2drT7pYeNHJ1B0Dx3BdLw2F+V3MfOUzH8k8feluF0IXEU4vxzC6&#10;20u8cPXl5MmDNL++rlvxoFvR9uwGjx5f5/HD6zy4d4n7d89S3rjkZ6b/L+sGodynaJ+Esq+/c3+l&#10;sIeDpNmOGNq5CdP96G9pj42nPw7+QcSmpRETH0F0kAtDJQacWTSKlwtrBPsP5N3SIlhbQMt6eV0j&#10;uH9ZNk8lHxiXJ5pr4EpnQ1c66ilWphQCcdHV01A6z/ZQOs4qgjdzEQF56QRg7heDobtot3lrjY1e&#10;ln668ixKp5VOpp66TisKKYLsbuajq4yi/MbS3orrB2dwb984JgzSMrS2iCtXz/H42TXuPzqLT9ZE&#10;3bUq9A8VuP9njvYup+3UR3m2KhBVqa5iLdpkLBbgHBiBk48fUTGhJKvCyE8JZmpeKGfG5fBinqCf&#10;hZLZ6jJdyQVWpfF+VTr3F6Tia2NEHyOBuvrOdO7vJFDTRwKuN71NXekjfl+pCaIIoZNY3McSa7qJ&#10;RSh95ztKvFEesCjUxUyYbeYt2u+GUgOzgzC+k/yuq4mLuEhBSqb+9JYEbsaQPJq219C8o5y7q0u4&#10;va6CqTMn/YzXRdmutV3yf88hk9Q1uGgnQ3tv+okgLMT3O3v74OPrTlG+hiEFMcwqiWZPVRxflvnx&#10;Yk6K7qnXO2F8i9C7hWq+rtdi3M+IjvqedNIXd2boKMfyaC3Aa+uh6w+vML+jMP5TPVtdEqbUNlHa&#10;8nQWZir1TRTN72LiLlruKe7JmU6GQvL7jgIUOhi7CCnfO5IV78nLreW8Xp/JiLrflgtQakK0Xd7/&#10;PqO9WfHPF5E45IOrvz/eAf6E+7owpyqDbdXx7C/34+6MFF4tSoVlasl8tboFtOXREiAF3naQmNJF&#10;XI5SzsTGM0qH8Y3sfTATlGPkFEQfJfES328g73tZedPZ1EU0XBgvf6dQN2F+X2t/ee+iK13bVU9c&#10;lp4HXQzc6dPXAG1Ka7OPX1PbJfyfMxy1jdP+9CLDU2pavhqRx+1GFSzS0LxIJclWPGcnZeBuL7DV&#10;TIKknmTV+sKw/i70EhdiJv5cYbipWyT9bHxEix107qa/ZMCGjiFiDeLbReOVnk7t1NvCl08MnOjl&#10;+q9/xmiF/ssa9vx3GiKQ37Rp+lNSni+bhxS3GHhomvs5/WuziUdis2NYKq4RyRi7R9HHIaS5r3N0&#10;s567qtk8OLfFPmHob1zGn5Kc75hr8sT/+p7l/zuO1oZfjam6pl/axtVtjb8uC70RetC2E367o7Zh&#10;vvxu+H/LRmD/uw6FmQpTFeYqTG5ltjC9lfmXFWG0CWWSIqR/amr//6YhDMwWJt/7tZv4h0nTuMpe&#10;O8ag7RT/32gfiu9VfPBfZFob+WWPbEmsqGpJrSlvzh5W3Fw0Or+5anweVeMzKRudTe6w3Ob0QcXN&#10;6oqy5pD8mhbnZF1f/b9KSoxpO/3/O4do45K/xBinhMoWz9iY5pj0GPJqMigZnsbA+iwGjc/+ucyX&#10;UlVKKfOllPiqnZDGoHFpVDe0lvhS2g+WjtJQNDyJohEaCoaqiC4qaf5LAhELQ+YR1Dal/7OHAuX+&#10;lAEK2YcmNtv5eqCQc5C3jpT+jv7xYUSkRpJSpqJgiJbCoUlU1KcL87Na+z0KDZ6URd2ETKob03S9&#10;HweIAEpHa3X9HwtFAAXD1OQPVZM7JFFX8ChtYAJ+mX9eb02sYVrbNP/PGkrNsj+9WPuo/BZbdwds&#10;vZyw93XT1VhzCvTBIyIM7+hI3MKCcQ9XatzIZ9EeRGWFklWdTP7gVLGGVGqV6lLThKbkigWIZYhF&#10;6JjfoKWsXjR/tPx2RNLP1aaUdpAZg+PJHBRLtmTUWWXRJGZrm521Y38zL7GG2W3T/t9//PrCFLIL&#10;Tmi2cXfG2tUZK1cnLF0csfFyw9bHA3t/LxwD/fGKisQnNhrnYIX5wTiFuuEa5opfnD/qAtHgGnEt&#10;I1OpmZSjK3JX11bgbuC4VF3j0PKxovnC/Lzh6t+U+soU5mfVxumYn10eQ3ZhpFA0GQWReKYM+808&#10;lcy87RL+9xsCAWf++mLsAuOabVztsRZmmzkIOTpgam+HpasLFq7u2Pn4ttZOCw3DKThItD+GQFUy&#10;SndKxxA/XMQNuQl5xwSTVKQld7Bo+VjFBSmMF/8vghg4LovyhnRKhfmtlQUV5isF7uR1iAigVgRQ&#10;E0tmZRQZpWHklMhrQRSZefJZXgwZudF4Jv82QVMK9bVd0n//0VaU9BemR2S3WDpbYSFk6WCHhY7p&#10;jhjZ2WIq/ze0tcPK0wu/2ATcIqJwCQsVDY/VFbQLT83ENTwSW39/bP1826oOBohVhKIuVJEu/lsp&#10;bqcwX6ksWDkhi7KGTIrHtrscpchdq8vJGawSxsfrCtylVUaTVhJOWrFofVEC0Ro5XmYsSVnxJOfE&#10;oclJ/PlxYBttaru8/75DJjny15M2sbVCqS5orlQWVCoMynsTWxuMbYTp1nYiBCcs3LxwCYnEN0GD&#10;W3QsPgmJ+KuSdJUF3SJicA6NxD4gGCul9GOwUlkwUMgXz6hAnQCKh2cwfGYJgyZlUCFoqKQ+jQIJ&#10;uK3uptXlKE2XFY3/ubJgZawE8RiShfFRafFy/gDdMZXKgo6BvmJ1IfjGheKpKvjNPaC2y/zvN5T7&#10;3O2TNPdJbNY3M8fM2hY78e3WTnbYODlgbqtUFrRB31IpvG+rq6Ju5x2MvV+EaHw8wdpM4vOLCU1O&#10;xdzDW5gRKt8F4xgQJtbhq6ur5qRUfvINEvIjRJMgWpxCeX0mleMVd5NK4egUckXrlbbFmYqf16Ec&#10;NWni59MqROsHqnT9mdWFMcRkxeEdH41dYARWfiG0tjMWQSutjf2U9sYB2Hv7/8YKlOcWbZf832P8&#10;enJ6VvbomyklHG0wtRIGm1piZKYUvrPSkbGFNWa2juL7vehnZoeBpTPmTj44+oYLo0MJUaUQqtJg&#10;La5IqaNm6xOIqYsPSo9o5f9KaUeX4EhshCmeEZHEZQueH54rATadglHC+OFKacfWso6ZQzSk12pI&#10;Lo8jRVfWURhfnkRyaSKJ+bFEpcfhEByMmVewMPqX0o6t7xVhhGAjZCeCcYwf+KtY0LCw7dL/141f&#10;F8twVI/60MvIGIV66hvpelb36m8orya63tW9+xnTz8AUfRNz9ExFOLYOGIll9BfBGFiKa3IQK3D3&#10;xMXHH9+wSN17ZQOEiZMr5m7eWLj7YOToQqC4J8UavCLjxApCCFKryKjMoXBEtqCbFEE1yaTVJQlp&#10;SavRklKtIbEgDlV+PKGaYEFLKjRFaqLTw+RvxeoC/DBT+ql6i6b7BLX1w1a0v7UvtvJ/pTe2vZzL&#10;Iybt10+0frvM+79y/HopiXVkeUsfA2P0jM1aa2oaWwijzXQ1Nc3MJcCaOGJhbI2jWIKTrS32NtbY&#10;CdnYmGHrYCO/s8DZyRYfP3cCBO8HBweIZbiIS/JBz0YCs7Mrlh5euAryUdyNvbgEN4kFNt5+eERG&#10;kVCQQdHIEkE16WTUpZA8SIOmUkWM+PXosjhiBM0EJ4TgFxlMmDqSmLQoQoXxESnyPiOJELUE+5gI&#10;7AVVmXt7Y6OUGZAYoLgfK3F91kIOwQIEYqJQZbQ2Z9aRpuFEGzv+64Zyl7F9AhZBuS09lSqDos2m&#10;1qLBVoJexPXYCaMdLExxt7EiwMGeBA9nMv2U5ueuZPs7keHrQKK3NSE+FgT72xAf4a5rhp4eH0R0&#10;qDDVTxjh5CwoyVlXd1npLe7o46dzR0q9ZUXrFSTkGh5BRKZofF0B6TXppAjjkyrVqAckEloUiX9e&#10;BCHpkSSkJeElSVtIYrSQvKpCSMhOIGtApq6Rem5NIakDUkkuziIxJ0PiQSLhKSkEaQT5hAbgESrz&#10;0saTmqUmI6u1wbpCYgH329jynz8886f/rv3Exj4pLZ37GIqmW4uft8bIwgJzC3Oc7MyJcLEg2cOM&#10;ogAr6qIdaIhzZGG6N4u1rixSObIqy4/x8bbUJthSnepCbqwdGTEOJEW4EOznioe4H1snT6wdXbEW&#10;xlu7ebR1phcBePnIayDOYeF4REUTlZ1GcmUmGbUZaKuSiCuJIUoCakB2BF5pIfgnBqHNT8UlMpww&#10;rYogVQTBiaFklqUK3k+huCaf3JJkckvFhRWlyGcZZJZrSClMQ5UjVpSfLFBURVJaHKmZ8WRnqyUv&#10;iP+VBTR+18ae/9zRfkKTgKyWDn2M6NpPfLr4ckMTS8wk0LrYmBPtbE65vxVTE91YlurKljx3DpT5&#10;crTSl7O1IULBnKgJ4jt5f3hwKFtL/JiV5sroLG9y5W/Cgl2xE3Rkae8iSMkNS6Wsr4ubTgDeoulK&#10;WV1bBXJKTPBLEJyek46qJJ30QZmoBqiJKYomokBgq2i8W0IoPlH+xKUl4hwRIQgqABfJoqNT4sir&#10;yGytJFueRt2QEsaMG8iAumLyBuaRUppAenk6SXmZ5FYUE5kURbJofFq2ZMm5Al8LE37u0K+Qo6Zh&#10;URuL/nNG+4msowa2KNtFuyqFTSWwGhgaY2tjiaf4cI27HXVBouVqT3ZmenGkyJcfKwO5JAy/NiSU&#10;a8NCuT5SaGwkN8ZGc3tEhK5T+qnBsSzN96Es1oqEMEc8vJ2wluzX2sUZRy9P7MTn24vmK+5HKe9o&#10;6e2rqyYbKq4hJjeTpNJsMkSDVeXJxBWrCM6Kxk0TiXNslLgMP4qrivGWJM4/RoWn5AuhCZGoMyQQ&#10;p0YRrw4nTqxDkyluKipAYoGSjGUISsrC3j8C97BosZQoNHkqUiRwZxUlkluk0lWTzS36pYyj0haq&#10;jVX/3CEHf6acwDGp/kOXvkYo1F18fT89PaxMDQl0tUTlYcLQCCdWJHmxP8ObY0V+nBKNv1IVyI1a&#10;pat7GLeE2TdHhXOzPoJb4yJ5NDmGl5MTuDkmWiwhjJWlwZTFORMR7Ia7BF93H2+cRAjO4mqUNT82&#10;goJ8omJxkuCrJGQhyclEZ4vfriqjcFgViaXpxInrCMqMwT42AtvIWNF2H4oHFBAcEoN/SAL27t6E&#10;xUWizVAJJaBJSUQtWW5emYaAmGCC1ZKMVWQJjNViLRDYRgJviDBfK5lvRr6avKJk8oTxhSUaITWp&#10;+b+sfPinF7ZWHuG1H7xjHxOdxvcU6Ni3vwEWJoai8aYk+thQ4GPIrFhH9qZ5clwYf7rMm3NV/lyt&#10;CuKmuJj7w6K4OyqS22PCuDk2jOsTw7kzXT6bFsG5YT7cGRfPocHhjEv3QR3qiqe3C25ebnh7eeMs&#10;mbC9aL+tkLLyzSk0XBIkNWEZEiAL8ykYWk3l2CEEJsfjKsjFRwKldXg0FkExkiN4o07JJDxcS0BY&#10;IrYuvviK9WjTBYpmJpGSqkGbEkWRJGw+Evi9o7zJqc4lOi0ZO9F8h8BAErPkd7mSMRcmUVCSSlFb&#10;KV8diRDis0t/FkAb2/7xoTwPbT9oJ31rOvU31W2S6NfXAEsjI/wcrUnwdiDXz5ZJsS5sT/PlZEEA&#10;P5UHcFapoyy+Xakue0Po7sgI7jZGcWNiJLdmxHJ3VjyP5ifyeG4Cd6aI+5kYwaGBLiwWwRXE++Hr&#10;6aQr5evp5UuAQEtvYZii+XYSbP0lGfOMTyIsu4Dkqkoqxg5m8MQRqIsLMfEMpbddEB1NPehh7avb&#10;UGHsHCJ4XtyVW6zkF+HYusURGKUiSpWISqxHnaYhtzyDssHZlA4XP1+TQ6B8ZxcUpbMyTU4qaXnC&#10;/GIN+WXJlEhA1lFZkghATYm4Oo+U1k1vypL6Nvb9Y6Od8Yae6hZlh3oXfXNd5XAzwfRedlbEediS&#10;IZBxVIQz6zVefJcTxIWiAC6V+3FZ/PzFwSFcGhLCNUXjJ8Rwe1osN2bF8mBxclsdZS1PFqt5tlDD&#10;kzmJ3JoSzbpCNwYlegvk9MLd0xkvH09CI6PxEiZYuHpg4emDV6wa9zgNMSXlgu2rGFA/mEmLZjNy&#10;2kw8ozPQd4ijq0koPS3C6GYeTFfzQLpbKhumg+htFUUfq3D6WgWhZ+2Pvm0QBnZekkl7kFKmWFEJ&#10;eUPKcY+MxDYoUo6XQFJumvj6ZNF6QUdlaRRXaMSVCeMlY1YEUFqqFLP+xf8rNajbWPj3DWVnhe5A&#10;6jEfWssCGNNNtL63IBxHc0vCnazJ8rZhuMDDZVofvhIoeSbPn+sVIVweFKRj/PVRoukNsdwWv353&#10;poq7c1XcW5TEgxUpPF6VxsNVWh4tS9IJ4OlnIoQ5CRwdGsLwRBcSw7xE48UCgv1wE9wfGB2Hc2Ao&#10;pq4+opER+GnSicwrImPQIKrqh7Bk/VK2f7GHhmmziNEOFO3W0MMgkJ4mIfQwDae7WQTdLMPoaiVC&#10;sY6gt22UUDQ9FGHI//vbhdNbLMXYNRAzj1CMnKIxcI3EMTQBVV6OIKMsYX4ypQO0lFamUVohliKI&#10;aEBZOuUlaVQUpwoC+iu7zP/W0X4QpYB1h54GdBbN7ya43sbUmmgPD/IC3RkR7cECjQ97swM4Wegr&#10;Gh+kC7CXFWQzOppbDXHcnZDAw5lJPJyv1FPW8GipaPmqFJ6sUQpZp/JibSrPlPrKC9W8mqfmQn0U&#10;i3L9yIl0IzDIk7DoCEE8wnDB/t4iABM3H1wjEwjLKpBkqobkAZWMnNjA5p1r2LBlGbfuX+Lxs4e8&#10;etPE9bsP2PfV94yeOA+PIDX9dNXDI9GzjRV3FC9WkEAvm1h6iQD628QJ82Poq/tORV/LNPrYJtLX&#10;PgJjJyXRCiOnLIc8cU+FVUoRa2H+wDTKRBgDxAIqylSUlGjxT2vtLCHw8/s2Vv5tw1Hb8Fo5gLFv&#10;WovCeIV66ZthLJlskLMD6f5u1ES6M0vrybZswfDias5XBnOlIogbQ8O5MVI0vl7czNg47k2K5+Ec&#10;Dfc+S9Jp/UPR9JdK/eR1abwUer42mZcrk3mxWEXTPJUgoHi+lsA7Qu2KJtKLoAAvPAXbW4m7cQyJ&#10;EK0PxzE8loicEuLKKokvK2HoxLF8fewAm7au4NnLOzx5cY0nz6/oKsU+eHydB0/ucP/JA+4+fcLt&#10;Jw/Zsv8LBgydTLh6IMb20RjaR2LqnIiRo0pclor+9mr62qXSxyZZrEIpBy/CsQ3GwCEAczfJrsUl&#10;RUtmnVGaS2FljuQHeTprKKvMEAj6yy0IZWNhG0v/Y0Opet3+x0rJL4XxHXvoo29sib2tLXFetpSF&#10;uzA23pkVmR58WeTN2YFBXKoSOFkngVNQTXsF8TuC5R9MVYnWJwvjRQBLhfkrtTStzeDtWkUA6bxa&#10;k8KrFSKAJWpYmEzTzASO1fqwtiKU8gQfIgRyevj546b0LQkV3B6nwtgrAF+tZKIjR5JSWy0ws4YN&#10;uzaxaPl83rx/wfOX94XxrVXEHwvjHz6+LdZwV1cp9vodpYL4Ge48ucbtp3e49ugSP165y54vT1NY&#10;PU7Ok4yJS5i4oTD07TViBRoRhJr+DhpdpRF9xxT0nePlfRgGjsGYufhLAuiFX4QIJCmS9LwUYjMH&#10;/H3op/2Pelj4NH/Sw0TXeLmHJFUO1rYEuTuRF+XGmATJXtO8+bzAn+8Fy18YFMg1pYr4MGH6iNhW&#10;5o+N4cHEeJ7M0PB4vvj4JSmi9eLbl2t4vUYp3Z6hoyallPvKNJqWpfBusZY3goDOjvHj8yFBDNeI&#10;23FzxM3dD0uBjLai9e5qpdaCJD+JKlKrB5E3YjiFI+pYt3OjuJ1VPHp6/ecyvc9f3RAB3Gitlfzs&#10;Fo+ftlYQVwpXK4K4e/8id+5d4OqNHzl/6RQXL5/h8rWL3LpzixMnTrJq0x4qhkzAKyIDUzexDFct&#10;Ru6ZmLimSkxIEktJEIrB3DUOUyexHhdFGEFYuAT8knwlN3i3sfbfHkqp8fY/+ririW6X4afdTOjb&#10;zxRvZzc0of5UxbszXevFltxAvi4L5rRo/ZXBodwYLIhGstV25t8T3P58ejJPZwiiEc1/vEj8/JJk&#10;8e/aX0q3t5Vvf72itXz7G0E/7wQJ3Z0YxamRkUxN8yAhwAVvv0DB+IGS9ITgrU3HNzUD19hEgtMz&#10;yRk+VNBJDau2rmfztnXCyDO8bCvT+3MJ9xe/lG9XqL18e7sQHjy8yN1757l1+ydu3DzLJRHED8e/&#10;4uSJo5w+fYLz5y9w8vQ5vj16mgVL1pJTMZrA+ALsvNRYuicJs7WY2CXpyrYbCRm7RGPml/q3aX/7&#10;j3taBTb/sYsxCnXqYYSZqSVBbs5khHkyWuXJkgwf9heHcrQslAt14VyRDLa9dv7dUQnca0jk/vhE&#10;nrUx//l8CaqfKd0hUni5LFU0XZgv2q5j/EphfFv59jcCP9+IgJ5MkOSrPpb1EsSzY1xxcnPF3NEL&#10;a58QHCLi8NKmYRkUKn4/jyGzZ1HZUM/ijWvYtGMDX323n5dvWuvnt5Zvv90qhLbS7e0CUJivUCvz&#10;L3HvwQVu3znLzdtnuHHrNJevHufOrXNcFUGcPf0tR7/5XFek9KtDOzjyw0G++f5rvjj8JVv27GPq&#10;/OWkFVRJUE8ScBAjVioCcGrtLa8jzQS9Nhb/5aHUd2//8cfdDPhjV31+37kfPfroY2dtTqy/M2Xx&#10;PkxO9mVNtj8HS4I5URnJJdF4pROQwvy7I4Xxo4XxjSoeTBAEMyNVVzv/xVwhEUDTItH0pem8XZbO&#10;e6V2/nIhEUI785uWJfNOvnsr6Ojx6BCOD4ugKkGSLWG+o3ugXJAXVgHh+CVnCOMLCMnIJm/kCAaO&#10;a2DR+tXC/E18+e0XvH73sLVQdXvtfJ0F3Grd4CYCaH9VmK9YwQN5vffoqiCli9wWIVy/e5YrN5XK&#10;4Se4fP0HLl3+gTM/HeXs+R84cepbTvzwBd9+s4P9Su38vRvZuVte921n1/ZdbNuygwWLljNyzASi&#10;0qt12u+oaWxuY/NfHpKZ6Wps9neKbf6kmyF/0FUT70+vvkZ4OdmRGODEwERfZqQHsyEvjEMlEZwe&#10;FMfFukjx9+HcGSbIZpRgeaWMuzD/UVvt/GczWwXwap5o+2fpvFuSyXtd0Ys03gnDlbr57YTyf6Um&#10;w2dpvJ8azZX6MGZkeuFjb4ehqaPAzVD0nbxxjkkkOr+E8Ow8kiorqZs2hdkrl7Fp1xbWblkjzH/S&#10;VrL9rq5+/qs3t36unf/ruvntFvBIXh+IEO49kjggVnBLXND122eF+RckBpzjwuXTnDn/HWcvfsOp&#10;swc5dfIwp058zYnvD3HsyD6+O6zUz9+pK169fetK1q9ZzNo1i1i06N+pnd8+2n+kNC5Qyrj/vouJ&#10;rpR7Xz0zQny80QYJvEwKYEZqKOvzwjlUGsXpmkTR/BiuDYnk7vAE7o9OEu1P5GFjEo8mSvI0RSuu&#10;J4XXs0W752XwYo5o9/x03nyWwvslqbwXF6Q0Lvi5eYFSgVCE07wwnZZ58dwfF876siBifT2wsnYX&#10;v+qJmWcg5v4heCUmk1JVS+6IkcxYu4axs2ayePVy1gjz3zY//w3zW5sX/HnjgnYhPH0mMeDJFR4+&#10;uqhr36E0L7hz9yeJAae5LhZw5eoJLihl2y8e11nAydNfiQV8yfc/7Ofot3vEJe3hmy938MWXW8QK&#10;Vv3cvGDV6rkkD5zY9vy3YXobq387lCI8yg/sE0Z8UBiu0O86GfH7jnoYm9kRFuBLUrAbtdpAZmYF&#10;szY3nAMlsRwtjxPmJwq2j5Ngq3SNECg5WpKosaL141N4Pll8/PRUYX4WTXOyeD1TtF8s4c0s8fUi&#10;kLcihJblYgVL08QSRCgigJbFmULihhYn8G5aLEcGh5EaYYONjZPkGZ4S3Hzoq1SvDYxGVVpF4cix&#10;jP1sIaNnzmTZpg0sX79GfP5j0f77NHG3VQhvFTfU2rBAISUYtwtA0X6F+Y+eXhUXdFXXtEBBQbfv&#10;KzHgnPj/M1y5fpoLV05yXnE/54/y44/iek58xfETBzh67HO+/fZzDh3aqYsJn+9Zryvdq1iAUjt5&#10;zar5/7b2i096r3zZ1dizuZ35v+/YT1dvTc/UASdnD8IDfcnXhDG2MJTVFbHsKYnmcFkMF4aouSrM&#10;v6X4e3E5D8aIv28QzZ8gLmeyJFJKxwhd5wgRwhQNb8QVvZ2uoWlWEq8FBb1b1to/pVnnejS0LNHS&#10;Ml8Fi+NpkeTszFgVAwVdmRlZYGzjT2djK0n54zF2CyQis4Bx4l+HTZ/JkIkTWbl1M3OXLObSjYu8&#10;ev+Ql7rOEQ90MUCplf+nXSN0ViACeCT0QNCQ0jVCcT2/COAcN+/9yLVbJ3WdIy5d/V4g6THOnfte&#10;UNBhXecIpWvEd0f38/XXu/lagvEXEgf27l6nq5uvMH/dmgU/M/8v7t1t//Lnlh0KddDTuR/ltoKJ&#10;mRU2libYWxgR4elOXUYEi6ri2VmXKEFRzaURCdwUxt+RYKsw/1G9MH+cuBxh/qvJosVTBMNPFoYr&#10;ljAlgzfTM3k3R3D+/GyeL8jm1YIMWCSWIIx/N18L85N4tyBJhJDOlbFqpuSF4GJli5F9AL0dPCXR&#10;8cMtLAnP2CSGTJ3D4CkzmLVmrSCejUyZN49TF87w4t1jXr4X1KPrGiGar1iCWMGvO0YozNe5nleS&#10;jL1ojQEPnwj6Effz8L4I4J5A0LvnuH3jFDcV5l/5nnOi/efOf8/JU18LKdr/JcdEAN8c2cORr1vb&#10;dijav2fXOl3l8A3rFlI8bFqr69E0bmtjeetQ2kjopPKvQ37D/H/poC9B1wAzG1diYiIpSI0lOcoX&#10;KwtjLMwMcbW3oDIplHUD4vhheBJnhiZyRembIoJ4Mkatcz3PGpN5MT6Z1xM1vBQhPJqayw9DNazJ&#10;DWJ5QThLC8NYWRLC2mJfdpZ7s7fMnVODQzhZ48fNiQm8X1DIrXHJbBgYTZS7I72M7fjUxEa37dMh&#10;IA73KBXZg4YxdMospi1fzYxlKxg2bjzrdmznVfNrnoqvf/bmrq51U3vLjl8L4GchvLzJ8+fXeSKu&#10;58nDK0ISgO9c58bFc6xdOJebZ49y88cjXDn3HT9d/J6LF8X9nP6GH08d5uTxL/lBqdV/ZK+uacHB&#10;L7aw//ONOtezY9sqNm1YwtqVC/+y61HWoCgf9rGLEGxvJIwXX9/JUNcv5Y9dDbB380OrSaQiL4mK&#10;/FhUyQG4ebtgaeuEm60d5TFerKtRsbsmQfxzPBeGSqAUF/RsTBLPRQCvxmt5MUHLHRHE2nQvhgTZ&#10;k+5hi8rFmkw3Uwb6GbNEEM3XI1VcnpjJg+m5XJKAvTnDls3ZTnw7RNxbYyoF4W6YWTjQVan5Y+SE&#10;voMfrpEqUsoHMXDsJF3PlIa5nzFn1VpmL1nGy5Y3PEdcD6L97x8J8xXX84A3bTC0nZSE7PXLW7yW&#10;TPi5ZMHPnj/i0aOXfHX4NOtXr+b5zStcOLiTLbPquSdB9s5P33L5/DHOiDDOKC07dAIQ1PPd5xw5&#10;vJtDB7fpBPD5ntamNVs3Lxf0s+QvM7/9w097tDYk+7SHZLU9WvulfCIJVnc9c6zsHAgN8iIrPZH0&#10;nBSSNBFokkJIiPYiWZKgEfnhzC2JZGNFBMfqYrgkDFOa1rxo1PBinATh+nhODYtndoofWb6OFMaH&#10;0lCgYuvoHI6NS+fBZ3mC/QsE7ZSI76/grdD1OUVsHRTJLI09x5RG8/Eekm/Y0VOp99bXkk/1relt&#10;40Jm5WCyq4eK29nEyBlzRPtXUj9tujD/HS9aJPAKvWl5IghI4Kcw/q2Q0jNFCcCv37Zqv9Iv5fXL&#10;uzx79pCrtx4zbd5G8ssmcO/xAx7dOs+94we5++UmTq6dxdqxVa0WcOYoP50V3y/MPyXMP/rtXo4e&#10;kcArzFfo18zfuG7pzy07lB41baz/hflKQdNPexjrSvkqXSR09fSV136WdOpvSUeBnB/1le/7i1D6&#10;GtLd0EAswJOYyAgykuIpFQg6pSCKHeKGroxO57b4/MdT03T9su5MSOLbhhyWDS1i3rAiZg3KZtKA&#10;TEbnxjG9MJFFZSo2DM1g+/As9o/M4asJxXwzt4bNkwawZEg+W8eWMbM2BWdXe3oqtRb0ZK5Gllj6&#10;x+AVl0rd5NlMXryamsYpTFqwlIY503nGK17zgvc84X3zI962CMmntwWtvHhwQjT+Im/fSPYrzH/+&#10;7hpNT25x69J1IjQzyK4Tf719Dw/v/sjTW6d4fesaJ77Yx+3TX3Dr6GZOb9/NkIph7N33HXs27+D0&#10;kS/5VtzOD9/s5PAh8ftf7mH33vXsVDpGbF4irmcxg8fPbL3doGnYpWO80jhF+cAtuf6DUsZX1ytF&#10;tL6DUKsFmGGg1DMwdaKnuSP69u5YevrTRRBHZzH/Tv3M6Sqa2L2/GYZGVgS5ulIdE8Lm2ny+qM9n&#10;Q1UKM7M1ZPk7Euhoia2pETaGJhj00dOtbutnao2BuT0mFk6Y2LpgauuKsb0zRk4uuloNjo7eOLl5&#10;Y+Puha2vN1beIejZhgvicSZAm0v6wFH0s/embtJshk+bx5BJM5mwYBnjP1vE+w8tNL9/zGPJXN+J&#10;1r/nER/ev2DL3Ik8uyoMff6az7ftEwtojQGr5szk6NcnSMoYR7JmFHdv3mPRyp0MrJ5HSdk8SquX&#10;klU2l89Wf8HaZZuJiq9gxsKThEfWsHDBBo7/eJTvvpOES4Rw+KsdfL53Hbt3rWbbttVs2bT0N6hH&#10;x3yJvgOV/+h7Jrco1aO69bPWCeATpZpsZ6VjkBl9hPFdDCzpIXg/OiOPgNh4TJ196G+pFKDwobeZ&#10;Mz0MRCP13Oja14Uefe0xMLSnr/yNnrEt+gbin01cdLekAwNCCAqMwT8wCvdApftPAD2tnOhl7UZP&#10;Ow9M3L3Rc/DCIySO+ZMGM3twEgnBrtg6+grS8cDU0V1wfjD6XmEMGD+DQePn0MvKg+LhEygdPo7K&#10;+klUjJ1I/ZRpfHj3lAdnv+R9002xgac0C/Obmx6zY8FCPhu/gOG1C1mzaA/v3z7m/ZuHXD/5I9u3&#10;fSVJ0mX2rzzJvJnbWbT3EgllC9FWbSCkYA0xlXuIqVqNbdBQwrIXEJq7kEDtBELih+IfVsqKFeuF&#10;8V8IbeOLz9cK89ewra1X1oZ1f9KqyVHbeED5T3dz7+bueoIi9AVNiO/v0FO5m2lG516mGFnaY+no&#10;jIuvD94hQYTERmJkYYWFnTN2Tm7EJqpx9fKnZ39HuvRxE38sVmJoo7sP09tOyMqThNBEyQ/yqEmN&#10;Iz0+gvDwUDJLSjByccPA2RNjF29MPbxJLizExDNAslhfxlWr+XFOLndXjGVosvL8dACnbl8nLCWV&#10;Xk6BGNiH8zuZYxdxQ84hSWhKaskfMobCYWOZKW7n8YXveXv5KG+eXaFJNP/t+/vw7g7nvr/AzEkH&#10;GTPuc0YNn827188F8dzk2YMn/HSjCW3GbPatu0huyXqGrD7OqM3H8C+ZjU/BKlwyFgrzNxNau5ni&#10;acfx0i4krWov4doZhMQMJyWmlJULVvDdoT0c3LeRfYJ6du1Z93PC9Rvmt/+nvT1TP1Nn3atCH3Uz&#10;Rs/cCicPRwICXUiI80ejCiU63JcUVThaVRiJCSFotTHExIXhIu6ha08buva2p6uBLb3sfenh7C8Z&#10;shnfCFLYWhrDnCw/CgMtKYr2pDI3nvycRLy97AnzdyUqyJmM5GhCIkJITlIxRBPF1oGJHKxPZN6Q&#10;bAwcxaL8/XTbiQztfOnQy52Pe9jT2chZV+A0LKWY4pETickfQHH1QF4+fMKqWQuYOn407yXoKu2a&#10;3ry/zZXz9xk6cg9Tl55j8KjlgoBaBBW94LxSmnf3WVIqdpJTs4rQ8jVEj9tP/YGLbLkLESN2Urb4&#10;El5iAamzv2HUiuOU160gNWc6pQNXkZ4ylTEFjXyxehNHBR19uW+zMH8Te/as+hlyurbVYlP6FvwS&#10;bNsYrrTBaH+vrNFx8/MmPjGQrJRAClICKEsNYUB6BDWFcVQWxQj6CScmMYSAqAC8wgLpL9ZjJjEg&#10;2N0VeytTyY7NCXC04s6iOq4K1v92QgYrK2KYnR3IpIJQxlclMboimeHFaqYNzWHOmAHUD65g8MBi&#10;ptXlsKo6ni2VCSwflIOVgyNGDu7UVxbj7NAac/5F3GJHA3F7Zu64RaeSXj0Kb3WmaOMI5qw8xIYt&#10;Z3j5/J1o/GMdynkvmP/H706RljudxOK1ZJQv49ytF6zY9SVXxTEl1S2nduEdUmfuIn/9V0w924Jm&#10;wQHmXH7E0EPX8Rm5H5fqDcSN20Ji4XBunL/GxuXbKM8dL4BjOjOKRrBx+iROHt7GVwe3C/O3sG/3&#10;Kl2bPqVPlrZycluy1ZD0G+YrT6ysXQN1bTs+7WFIT3lVR4YwKD2EyfkRzCuIYWZOFBMlOWrMCWFE&#10;bgglKb6kasPE9YTiFhJAX0MLYVQWF6fmcGlhOfHuhpIPGHJiTjVPJudyZ1QqK4r9mJLmxazcaJZU&#10;Z7BiWCkL6rJZOSabbeME7QjWPzwth+218eyoTmLP4GT2jC7B0sKWISnR7KtPJsFXtN3ARphvTRdD&#10;d13nCCO3YLm4YbirsojIrWJg42oiU0fz9Snx+R/eidY/48mrB7xobmLuih/EUpYwbeN1pu45ybIL&#10;5zjd9AGf9GkUTD3B0LUX2PXoHUsfPaPx8m0abj+l4doLLAcuoGLtVYL8q9m/9xDXJdn6ZtshGkvn&#10;UJU6ijUjljK+dBgXjh5gflEtR1av5MDeVXy+c4MwfyXVY2e13mLWNk78reYL1OyhLIzSVRA3wcjc&#10;lmx1JA15USwdEMOOOi27a7WCvdVsEm38f9j76+i6zi3LG/7rG+N9qy7lJma2xczMzFzCc46YGS2y&#10;ZUaZmZmGmTExxXbixBRjzCQzo2T/JH9rH9m5Tm6qu7rfqu6q7rvHWGPvs3V0jrSeueaac9OzXihh&#10;RmEMtWmxZKhjcPb0wlZo6szkKl5MTebxnGx+ml+HsWEnBqYF835OCe9mp3NxbBZf16lYWxnB2opo&#10;1pUnsFE+6+vBiVydls6bxfm8WV7MNdH/xyXxlyeU0LRpFlYmVhyYPZaT47IojQ9BR5L/11422pmC&#10;Ohu60NPak6j8/nir83BNSidz4HRicqfgHFbN1OU/sOXQA84/e8ORhy+kgW4iSLWImMJZTNp9jfWi&#10;5488eMLKvSeZs/UoFeOWcqa5hQ3PbjPnyR0arjUx+tor5p1pIThjCvtlwG5e/Zmbl37g7tnzTOw/&#10;iUHZI5hTM5X5gyZw/ru9bBw7ixXjZrJx4Xr27d7IFuH9YZNmfzq7teJXGl+Rmh16G+PgFcxfe+hK&#10;Q7UhK0ZQnxnCuuIwDtTEcljQeLQ+hh9l/WNdAjtqVAzPjKQgU0NfkZ/Rovuvjc+FSfG0Lsrk8fIc&#10;cgPs8Hf34sGcMt7PTeL99DzuNqbx85hELosXuDw6hftT83g1rwAWptG2RDncnM6ruflcGpnGk6UN&#10;3Ny5FHPpHfe/WceZCblUJ4bSV5p6NyNXepp409XYjW6ieiJyqnCKS9M+WzOqeCSOkQ34SAP1yl9A&#10;3erbZC78mmnnrzJ0w1kSc0cxd9lmdp9/xOQVC2m6fJG25uc8eXaNtetX8+j9fQ4/v8ymR7eYeuEW&#10;GXN24KtuYPa0rdr5sW7dOM3d66e4ffpHdi5ez/pZu2jIrGFV40xOH/6Gn/Z/S0lmBTmhZQzpX82u&#10;7ZuYOmfxp5Mr+/7WcHspUzOJgequh5VLAF37mWJta0debDgT0iNZmR3Kwf6xHKuN5kxtJOfqYvi5&#10;NpZvBbHjhIqS4iPoomtKsSaan0cn0zolUTvR8PNVai5MLsNWDNr88jSez02ldUYcbdOSaZms5s2E&#10;RF5PVPN6cjJvpiXRMjuBdwuSebckWwaviGczSmjZOomvl07F28eVllPfcHZqMVWqUPoY2dDT1J0e&#10;xt6i+13oZu5BUFqJ9nnKJn4x+CYPkAoYj0v6UuLGniBh5s+Ylq9hwDcPyG5cyeu2O7S2nOf+i+PS&#10;C05xWLT4h+ZbPGw53X785/UV7r25wfUX95mwcAWrtx7g9JkLPL17g6am49y+eYam62dpunSKzSvW&#10;Mqh6FqPql7JgzHoWiUPetuVrqmunEuFWwYja8Wxev5u5C9e2Kx7lce6fkq/QjEI3ygAoz8vXNXXA&#10;LzCMzEQVQ7I1zMyNZ1N/DQerVRwTyjlZm8jpWhX7q1IYlBKBg4MNvQyNRB5mcmGMipbpKbxfnsnL&#10;lcm8mp9BiZcRXja2nJtdxpsZ8bRNz6BtkorWifG8G69MUqbi7dQkWmfJ4MzLpW1+Pm1zing1rZIX&#10;W5eQr1HROG44rRePcHZeNeUJQfQztqeXNvkeonic6WjojFtsBvZRavo6BeAaW4m7aipOCctxSl5H&#10;eM3XWKQsJlRUjHd4Oh/aztH25gxt78+I+fqOhrQo2l5e5+37y1w/eZ6L+w7z4NZFnjRd4Y0yQdm9&#10;i7x+doU7d09y+/Zp7VStN2/J+y6f4uzFa1QNXUJs2hziNTMJUDUyd/0hYrIbCY2egpNXBtGZAwlN&#10;qdQmX5D/4pfkK7PDKROUtV93b6ad+/yr7rrCqyYEeoksVEcyISeO1dVpbKxJYf3AVNZWq5lTnkxA&#10;gPI8s77EiLMdXxHPjQmpvJ+RQevKHFpXpfB2VTL3JZm2Dn1I87Ln0dT+PBunzA6n+Tg7XBLN42V7&#10;Sgptc7N5vyCP1vkyALMLeD5/CN8tWYCxsR1NNy/Seukop+bWkBXsiqGpM7pmntrkf6XrTDfZtg/T&#10;4JaYiY57kCS+QtA/Aa94UTZZM5m5YBd+sTOwd8hnWM1APrSepqXtJK2tJ/nw5giLB9fw4ekVnr04&#10;Iw52F6mJNWxasouZYubePr7Dm6e3OHr4AE23HvHowV2uXj/PpRs/cVbc8u7jPzFv9zkKp3+DV8F0&#10;zNQjWXjoFINW7MctayqGYWUEVEwlsq79xMqvkt/n4+xwXYRuOgrvK4eWXb3CKchQkxsbSJS7C+7m&#10;xlj264VFPwPM9XQw79sXKz0jbK3sCAgOpH++ilX1Gm2jbJkm3L06izcrU2hdpuLDiiR+nJaHl34/&#10;0rx9WFadI42zjFtTynk0vZKH0yp4Mksa9bIaHq2s5+z0ajbW5VIY6IOlnilzp4tjfXWD1uuH2De7&#10;gXhPa+zsvdCx8BTO9+IrHTe6mHpjHhAnyE/BUlx0sKoB74gaNm4+SPOzV3x4+UA0vxgil3hO7V5G&#10;G6d53yo8/+4SFw9sZJbI0w+vrzNg3AxGLTyBU8BQMuu3MGnhd+w7cJrxjbOpG7qQugl7OfzzM+au&#10;PcjOE5c4cO488zbL+/YfIGvuTuKE0nIWbWD8d8L5IkNt0qdhVzGTPHHTygBoc/457SjJVx7N3rmv&#10;uNo+Jtrj+U4ewRSmxTO6UM2kvBQm5aYwOSdRKCiBiRmhTMqKZnpJGvUpYWTFeTG8XMXmehU3pYG2&#10;zsykbWUWzUvVtC3X8H5pPM3Lc9leGUn/cE+ilcG0MsbbUhdfsz74mfYlyESHQFM9QswMSLIypdrf&#10;nZU1xTw8egAeXKH13hneX9rHgfkjJPn2ODp5Y2jrS3dTD9H60nDNfTAVrleSb+4XR3bpOE4evci7&#10;53eFVl7R/O49Pwk6H357lLsHl0hzPSby8zzv3l/i4U/HWTp4GK2vLpNbOZOqcWdxChoj1dNIdO5k&#10;cfgqfAOKMHVMxTGiDg9NLeM2HWLsvh9Y8/N5Dl7/mW+amqjdfoDxx47S+MN+xn1/nEFbTtIvtp6c&#10;9WuJn7qY4Mp5f99w+xrbaOdI6dRHOZop7raLAbpS6gWpcUwtUbOqWMXOShWHBqRydGAKPzSksF9i&#10;ZX8Vw9K8GVYUxozqRL4drKZpRDzvZwryl2eBoB4ZAO3cKHOjedIYzLocN6amBrO8RMXWmlT2KZ/Z&#10;kCHqp4LL48ppkmp4PK2U5jnC96J0OLKC91e/p/WWNMazu9k5YwgJft44OPph5RaufWZmJ9H63S19&#10;MPSOwDpMhY1/FrHRpdw/e4W25y/E4p8krXIBkamjKSoZyuwpE3n56hGv377UDsy9M49YO3M5p44d&#10;xs67Dn3X8fgnTaGnfSqGHvm4htZj4pCDtWchbhHVGLhm4pdXz5QfLzLrzFl23TrJ+vPnqNv3LaNP&#10;7mf8ycMEDJ5L/NhduJRPo2DLZrKFwkxih/291OxpaCYN0/Ij7xuKw5Xm21WPNE08Y4oSRI8nsqcq&#10;hh8GqTg9KJUfB2rYLjJzfHYwg3ODmSyIXzYgiRNDVTwerZbkK/OiSFNdphHpqJZBUE4TaviwQMWz&#10;yWKeijxYluPHkVo1N4en0zwhi5ap2aJ48kSK5tM6PVeqJ5uWlTW0HJjHu/NfS3xD67lvWDamjpjg&#10;UEws3LH3jqaz8lxl0fqGMhBGknwnabqO3mnMmrSEDYvWM2n6DjT9txGWtxc9/0nYRo7DXExSUuUi&#10;QsQHaKrmMHDsQRLSJxKWOgj/lOnouNVh6lMqn1co1VSEdXAxzhHSLIPKMHbOxNK7GPuQLCwTK5h4&#10;9DRLbx1jwJFvKfp6ByN++oHRP/yEY+UU+m88S8na7wkau4rKzUcxSRjw9yarh4GpdmYgJfla1aNM&#10;StNBF1dPb6oyE5ieHyPONJytVdEiOWPYXRHFguII6lJ8GJgdwmQxTeuHpXFuZCqvJmbSMlMSr2j2&#10;xZJ8bUgfWJzJ2wWptM1M5N64WLaVh7E8I4DjYt6ej0/X9on3U2TQpghlTZMQ6nq/vD/v9k2H09tp&#10;O7tTkr+baYMr8VTuFHcNRMfKUzS+M73MhYLcQjHwCsUqVE1x/7GcP3GKn8/fonjst/hUHCF39H06&#10;2w0mZ8QR9LyGYRU1C/eMjThqRP1kbsQifAIOcePR963CwC8XE+8CfJNGYuSZg6FnGpZBeRi6Z0pV&#10;laIn617WUfT1ySZj/jqmi+HKO3KUIReOMfjkCdKWbqVm1zEG7j9D0uLteA5fTsKCNfhWTPv7wwvd&#10;9U3oJspGuQFCe3ihh6L5zcW6m5OSlMCw1Bjm5yeysjyJDZUJkvhI6tICyM8Ip0g4f2RpEksHqDgj&#10;A/Bmcp4kXxI3R0PrQqGdhckfJ6ZUaSenfDtF1M3EVK6OTmd2RhDLSmI5OSSFJ+OyxZyJypmcA9MK&#10;eDeziHcrB/Du65m0ntxE2+ktvD29jdLMJBwDwtF39kff3kf7RNluxq7oK9OxhiVgF5lGzeDFHN77&#10;Iw/uQNbQYxgk7yWu/jqemRswj53Fn8wqcE1ZiV3ccsJLDpI25BjdnEuwCBtEd9tUetjFYOxWgnVQ&#10;CX3tUzDyKKCHVTJ6TplY+BdJ8kXOWiTQyzmDPzlH08UvGZeyiQw6e5FBxy5StvU0CTP2op8/iX6F&#10;k4hZ9DWh82Sgk8dq8609sPbpkLKufWCrcq+VkvgOvYz5oocJf+hsyp86GOAXEEp+cjQj8uKYURTP&#10;9MI4GrKjyFGHkp2WQG6aivyUOIZkhnNwWBb3JijTMgmNzFbzUkzVq6WFPJeBeDElmtZp0g9EzzND&#10;w+vpaezsH86Mkmg2VKRwaXQhj6fm0yxut216jshVkZ3Lamn7egZtP26i5cwWWi5sJ9LHESvxIH1d&#10;fDCw9UHH0osvdWzoZ++PT3IRobn9GTJtG4l5k0mv20LxnPuEDr2GU84xvHN3ClXM4f9nnI+7ZgWW&#10;YbOwixhPL7ciujqV0NU2ky5GkfS2S0XXO4c+9sl0MYvjC70IvjSMFBediLGHVIJHOn2sErWh65hC&#10;P1uVgCEd5/wJBA1aT7+0qfyTexVGqeOI23iI6J1bCdm87jeHlD+eTDH2SWtTbv1RKKdjLxPtxJR/&#10;6GzMn74ywNjMkSxJbn16iAAyglm5kVSqfMhUB5GuiSBDPECGKpJCdQiDMoNYXBbL3oY0To3K4Sdp&#10;wGcHiSGrC+GhUE2zuFhmqNsvnJqWw41xOcwpCGNxSSK7yxL5eWSm+AAZgGlSBTNy25O/ZzptP6yh&#10;9aeNPD2xGQdrY0y9Q9Bz86eflbs2+T3N3OgjA+GZlENK/WhO3n7B3ZYP7DrzkDEbTlMx/wKdXcdi&#10;Gr4Iw+Bp6AUOxzZuBCZB1XQ20UjiciSBefI5akl2uAykchm4hFu2dlbQntYqvjAIpat5HL1sVNpZ&#10;QbuZRdPXMoF+EgYySN1No6Vq1PI9BTgUL+TLsAacR63Ed/M3BO7+muBtn80CrSyfTiPa/MtA7SGG&#10;T+dtleT/ubMSJnzZzVAMVARDC2PYIQndMTCZUdlBZCZ4kxjnS7oqjHxVLMWaOCrTo0V6hjAmwY8F&#10;iZ4cyA3gwfAUXk/J4N1sMV8zxdVOV0lTlUGYquK18PzhRvm8LA/mFMayS8zb+bGZPJMBaJlRII1a&#10;Sf5k2g7Pp+37lVw7sAEdE0m+eyimXiHaeVKUy0gMnAIxcA8hJKeC/pPnM337Nxx/+Ig7bS3c4S0P&#10;2tq48qCNMXO/I6F4Ef3cKzEJrkPPJUd6RjKWPpX0NU+lo1EsX1lES7KT6WOZJIOSJconU2gnh47G&#10;UhG2SfR1UMv3xvGXfj7S6EPQtZHkO2owcBZasomlh4OG8PLF6GSMx2XeNiK3f0fI8n3YDvmdy0c+&#10;7VDuQlF0/hddjbShDMCfBP3/3NEANw9/ylJDWTsslf1DNSyqjKYuI5DkGH/CvTzJj02kODaaQZoE&#10;ZmZq2FGUyun+ydwdmMjb4cL140T7T1TTOkUk5yQNjE2mdVIGT8ancEtoZqs08cniHdbXJnOgLpo7&#10;on7eSPJbV9TRtnsird/OoPXwKjbPnoqOrTMm0lxNJNk9LNy0U7KaeEWI/lbjn15AeGE5ScMbWXH8&#10;LCfvP+XWmzc8eNfMs5YWnr+HF29bOHbjNYPm/EBQ/Ci66kfS10YSahZDT1l3tdCIcVPRwSIOK/9i&#10;LLzy0XVIRkeSqu+swcQjFRPPdLoYh2Lmlibol8Eyj6SDYSDdrcPpYhVDJ3M1/z/pEeGzv6ZHwgAM&#10;4vrTz6+4XWZ+OoGuLJ+SryS+Q0/heyXxgvpP8+H+uasZHboZkxQfzsiyKHaPTBYzFc8MoYuBmdEk&#10;Ko9gMbQgLy6CwSJNF2WlszldmZgylcs1Gl4K8psHJfNqSDIvxmRzT6Tq6TINizWhzBBztindnz2l&#10;ESzK9uWnSQU0icx8NFV6xrwC3q+u5f2OMXBgGi+PbCAtJkn+4TCRgREYS/K7SOK7ygAo03S4xKdJ&#10;8nMJyMyTJlpGdHENhq5xVIxZxepvr/Httac8aWnlPa948uEd+2485lXbB+69eMXefYepLa7CzDmS&#10;fzaJpZNxAqbBJeiIqeonVKJQTGfjMGnCqdopWbuahkjFhNBB11d7g532tVkoX1mF0clCmRs3gT8Z&#10;x/MXWw06rkJnrvHYxA/V5vlXl458umiqn314qzIVq4L4vwjdfNHJlL9qty34ops1rt7+FGRFsnao&#10;oH+Qmq8bEsX5hlIUE0KEozvFUTEMz05icm40a4ui2JLmxYEiLy4MjuZ6/1DuD47jTH0oD6dlcX1S&#10;Eal9/yS+y5tD0sB/HBzP1zX+PJIm+2pGBi3zReMvzoO1dbRsG8Wr3VO4/8Nuegsl2njG0NvZV5Ce&#10;oj2S2UFox9Q/Gg9VuvYGOWUu3MjScgLSioWbI/mzTgB/0QkSRRSOqmQ62w6cZe2xG6w6eZOWd8/5&#10;0Pacg9tGcmFXI3t/+pbcb0/gPmYBZnGV0mATpLIkiTr+MpApmIrk1HGI40s9b/pYR6BjEyn0FC7v&#10;CZaqidBOvdrVRJmCNZLOQl9djWRgLCLpbhP+95SjLJ9fLqidiPjjZMTaAeiizIlrquV+ZWbQOLWa&#10;MeXxHBME/zw6ib3DEhgsdKEK8EHj48P0gcUsH5HOu1Mzub9BkPv9AD5cauTOSpGbe2t4vEGUzJGh&#10;PBin5niyK7dronkllXRjSCQ3R8fyfLokfl4WbYtEbi4upHXDAJp3joLvl7KocQgd+1gKv0dpkW7p&#10;H0dvhwA6itlyiksXw1RMyZhxJFVVk1BRh6a6HovAYP7Qx4gv+zrTXQbgn7t78YcuXsLVCURnT2Tv&#10;kXNcvXWPGQNjWS+959uHV4i8eoNIca5bbz/h+3M3yK0Yi6F1rDTVRKk6kZ3OifSQZOpYyj6pBH3h&#10;fwOJ3sL3PS3jRC1J8o1lIEzCpFqkIiwjtfG7yVeWTz/4UjsRcXt8PhGxsq0MiK6pHcU5iawfksm5&#10;xjROT8xiZnkiJQkRlMVFMyZfw9YJBbz+fjzvjw+j5fQQ2m40wrEBoliG0ralSlxrITer/HjZINJT&#10;+kDLpASeN0bzdFIiLXNE5SzM551yNmtZEc3rBwrtjOftd2vxsLbWnq/tYROMsUsoln6JeCTl0dXa&#10;C09NHoHZ+RSOHkliRTnqqlqyB9fRMHMElY0DtU8s7CUU9YduFto5b7/o6cpXfbz4Uxc7uuq6UZBe&#10;zv4NW/jm5gvsV2wnZtu3XPvwmqfvXnDhxi1eNn/g9Jk7TBy/gvjoSr7S9cbUSvqDqSTbVPjeTPqP&#10;0FI30xg6GEjyjcK0A6CdjFjoSN+v8PcvlFUWoR7tJeI9TL1a2y8b/Nulg58mIdYOgNCQm08gpRnR&#10;bB6Rwb6hySypSqI6KYTyqFAa0xKZqvHj9tIa3uwcROuhkXw4Po4ny3O5MyKSJ4NjeKtcStjfj7eN&#10;cbTOUokhS+DNNIk5qbwT1LcuzOPtUkn+yjJaNgzl3Y65bJk8Bh09MzoauEmT9RV7H4WxV4wkP190&#10;egqOsalEC9WUNI4ipbaKpPIKMgaU039if2omV1M7sYHB08fRf/QwwlJT6GFixZ+7i6/p4yiG0pU/&#10;9Qngi+52fGkQgIm6gWFrj3Hx4UtuP3nLsXPXePmqmeePHvD45i1e337Kjz9eYNi4xZhE5PGVSagk&#10;XejFLEKb/C7GUdppu7uYt0dHk7/dm/W7l4j/cnNE/JBfZoLu2Fs51KDQjTILtFn7BJRCQd362hAa&#10;G8Wg0nhWDtawYEAC9VnBFEYHMyA8mM1FmRwpTuAnccE/ZPtxoX8UjwYl0SK9onmgmlf1MYJ4oaF5&#10;SrI1NM+Rn81JFp7PpEXopllQ/06Z+3xlFa/XjaJpx0r83aWxGbsIqty1k87o28tru0Cc47K0E1B6&#10;anIJKyykftZUMhtq0VRWkj2wXBJfx8DpDaRV51I4qJ6BExq0s0A3yGAojwyIyxCpqavM5+gp4cIf&#10;ZQD+2tdXKsRLgOaAd0ghU+fu4dDRG9y4/Zg7927y+PEtrj6+wo2bTex78IR5+44xY/5W/BMK6SFU&#10;1El6S1dRP72sY+hjF0d3y4h/nXI+LZ/e0Lmv8lgXY7rqKMf3zbSHmDv0NOWr7qJ6ulrwVQdzjGxc&#10;0KTFMEgM1YSB8YyoiqUqPZL+EQHMEsN1tCSdq8Wp3MhP4l5ZkiA9gSfVsUI1kuhJaaCdD1e5Hl+Z&#10;ETqdtqXiaBcq82Rl82Z5Pu+XlNG2sobnW6YytLIYc1flIRbewqee2olpeivTcNv6YhoQjW+qmJrY&#10;ZAJz8oR2hlM6ZgRptTWCfNH8EwZQO2kwxq7O/KWXHvXjZDAmVtEwuVLWFQyZVM/wqUMZNXY0oUJN&#10;3Y0M5f+04I897IWalJmgbfiitwx6X28cAzMYNn0Fe05cZuHubzh39REHHz9l14XzXLh6jaN3LpJR&#10;P0fbB74yDhJKUp7vIP0ppKKdcv6124KURTnAr7zJwC2uVTnCqUR3PXMZAHNJvjIBsURXS77sZMWf&#10;OhjjHhCCOjmcgcXxjK9MYnRBFOPyE5gkimhBWgBf50dyqiiGSxWi20XNvB6joW16pjRTachLResv&#10;ab8DsXWZcvQzm7YVubQuz+Hd8kJeryzn1bo6Tq8cqb1exy4khe4m7pJ4D+1Jc+U6nb7iaA08g7Wn&#10;DZXk+2ZkES98P2jWbLIbBkkF1FDeWEf9xMF00utHDyMLhk4dwuCpNQyZ2p8RM6oZNauOYdP60ziz&#10;lBGzBzNxzjCGN44lMD1FkmfJP3Uz4E+9zfmnXub8Rc+Bf+5tzz/18UTPMRF1zVRGbznE/uNXOHzt&#10;FjNPHsM8IEdMWBJfGgXylYEfnUwC//uoV5bPbwXVt7TXTsHd00CZ99aMLn3NUeZAVOZAV5TPn0SG&#10;ftnXghBVIlmpkUwu17CqNo0l1aLfa1RsEZo5NDCJi0NSuSVq5uV04fJ5kmBlGu5FknDlxrclqbBU&#10;1stl33JROCtzJUReri7myZoK7q4bxLlvluLsqzzfUiy+qTL/uRudlen2zJQZ35zkH/URmRklnJ+C&#10;S1IK6tp6gqQC0gc1kFxTQenYBqGdYYxZOJ7hM4cxatoARk6vle1ahilTcMsAjJTBGDZH9s0ZzLjZ&#10;g5g0ZwQTlkgsHMrY2dNJLiwQE2bNX/ro86eelnzRx5d/6u7OH3SEnvp4YyQD4ZPVQO2CXXQwDuZL&#10;Q3/+3NcLXft49NzSPp08+W/fCqosn5Jv7hXT2s/EFkMr+UeVAdCxaJ/3Vrj/L9KM/9zRiP9HBkHX&#10;yYuI2FBGFGvYOCCL7QPS2T0khe9Hp3JxZCpPx+fwckIur6coRznT2+8yVG54U+44VOY/X5ImyM+m&#10;VRKvzH/etqqYt+sqRJpWs29MHq+azmkvZbHzjdfO+K/Mf65cm9ld1roO/iLvfDD2CMM2NAFvTRYh&#10;eUX4ZeUQml8gAyDoHzKY3JENVE8bxuB5w2icUS9Ry+iZ1Yyd1Z/RM/rLQNQI6hsYIzF+7iDGzx/E&#10;xAUNTJvfwIxFg5m+aBCzlo9i+uKJqHMyUU48fdnTQsKeL/u4CQh9+HMvD/7fbk78sY80734ufNHX&#10;QwDyN23/370JWlk+v/3fwNIJcyd3lGm4dc0c6GVgJ+rATAZA5GdHY/7Y0Yz/p6Mh7n7BlGeqWdWQ&#10;zTdD0/lOmed2aBJ3RqppHp/Fu4nZNE8SqpmZwrvZQjcyAK2LBe3L0ni/LBNWKGgvpXVthayraFpY&#10;zo9TS/lh8UjeP78jyQ/F1i9Je+i4l5mb0I6TuEsn9CT5xu4RWAfGYxEQg5c6C5fEFOKqaoSCsoku&#10;qyJcTJeqfjCBBUUUT5yonYR+iCR4pKC8cZYkenY9Y+bVMmnRCCYvGM6kBYMZv3AgExcNlGQPYvbi&#10;Acxb3sD8FQOZJduLVo5l6cpJzF86i+yiXHrqCwMoarCnDX8UI/qHbo4SMgjdXUXpRH06a/XfppzP&#10;l0+/YOgU3Gru5IGehb32odM9Dazo1Fc5wS5f2ElM2Ffmwv3m/KGDLpHhEcyoTudroZkTgxK4ODCG&#10;x0PiYJSatnHSYCdLoqdLc52VLPQjFbBQmfU/Q5Kfy/vV5bRtrIV1tcL1lTQtqePk/CG8uXSAh7fO&#10;EhCRhLVvIjp2gnRBf3dlMklJfi8rT0zcw4SSojES9FuFxOKuTid10DB8M7Pxzy4guKiKlGHjsIjL&#10;IKZuLKXzp1OxbDr16+YybNUMGpdNFIoZy6TFY5myeJQMwFAmLRzClEXDmLN0rCS/UZI/jgXLGiVG&#10;sWTlGO0E9CtWjWLRstEsXz2ThcvmkFeSj4GlGX/6Sk8kusjYLja/oP7f/OALZfn8kS/KzP9K6JrZ&#10;0U3XTHtNTxfheuWwgzLx/BfSfJVJ6Hv0NaE+T82WIWkck+RfHpDIqyFJtA2Po61RQ+sk4fdpKdpz&#10;u62zM2CuclpRmuvSQlhbLeZrEK9XVHB/gfiBxXXc2DqHd/dP8OjeGdz9g7HyS0DXMRgdQX9PSXxv&#10;cbW9xVwZOgVqK8AhTI2xTxh+GQWkNAwlOL8I89AIAvKKUQ0YiVF4KrbqMoYs3071stWUrV1G/bYV&#10;DN26jDFblzN5yyJmrJ0pCJ/I4pXjJKETWLR0MvOWSSyfxEJB+8LlY1m8YqQgfySrVgxj1coRrFo1&#10;hjVrx7F69XhWrhkvPxtPUWkWZh5/mwLwY1r/7cunhx2ZB2a3KahXJp5Xkt9dx4rufa34SvT/l4r2&#10;72rFXzqZ8M9f9CMtPo45VQnsF91/ZXAqr8QDtA6W5I9RwURB/bQ03k2XxEvzZYbQ0Zw83i0qF7oZ&#10;wJtVVTwVff9wYTaPlw7k7Q87aHt9mTvXjxEUHoOBSwRGbpFi8f3paeRAX0t3elp4aGf+Vx5ApOcY&#10;QGBaESaBkUQU9ydvxHgc49QEZhUSWVyLQ0I+nZ2kMWuqqF6whnXnfuLQ/SucefuY062vONrynD0X&#10;T3D7wQV2b5vNxvUTWbNOmfl/cvvs/9qZ/6fKvvGs+jjz/5qVo1knlbB25SjWrhjOehmU9Wsa2LC6&#10;8RfU/w8/7OjT8ukDlMtKFMmpDEBPXZGfMgCdRAF1EPmlzPr/F+H/r7qZ07eHEaPyVWxvSOPs0Aye&#10;i6lqGZwIY5R7cJN5Py2Td9Mk6dOzJXJ5N6uQd/PLeT6viMfz8ngtVfByaQFvN4/nw6VjvL1/jis/&#10;HSQoNFYSH4Olb5Ioi0C6S+9R7opRJqbUs/ejn1RDH2tP+jr60dfVH/uYZFE6w4kvG4BbfAb+aSVY&#10;BKfypUUg5qoyHDLKmPfNPh5/gGetb7n//hUXWmHjdwd43/qQZ/cO8/zx11y/uoa9e+aza+tstm+e&#10;w5YN09m0dhLrVzVKwtsTr2xvWDWaDStGs3GZMvv/SGJLxmh1/f/0Y76U5ZcH3CWN+KBc09MeSgVY&#10;aOmnm4611vm2HwMS+ulghpVUx/SqPHYNzuHUoDRuNaTzdHgWrydm8E45NztJEj6tmOYZhbTMLqR5&#10;viR8Xi7P5mXxStzt21UVNB+YT9vdC7Q9usSlY3uJiU8RZROOtZ9G+3hGZdJgZT5cXUm6iVuIJN9T&#10;eoEbpt4RdLfzprfyPLSETPzTi7CPTJZGXISxn4rujmJ4ovMxTSjAJC6TFT+e5GrzKx68e87j1mZe&#10;vHvKB25J4vfy8skWXj/eRPPD/by6s5+rpzdwdP88vt42WQZjAps3NrJl/QQZjHFsWjOKTTIAm2Ug&#10;Fs4d/W/T9f+W5dMHGXsntynJV2RnD31LWVuL/rcS/hfT1c2UP4nz/aKHHV/KQDhIjxhQmMeCujJ2&#10;1pfxQ0MhJ4fncG1cITdH5nJtRDb3JmXyRjlsvCiTFnG3z0X/P12UxbO1Vbw7uYq2Jxd59/giTZd+&#10;IEGTLrwejrm3BjOFeux86GsuvcjJHzP3YAwVyakc1zd3Rt8zFDP/GPq5BmATppJByJZGrJb98Xxl&#10;4Y9BaCrGMbmS/Hwc08vYfuka51895fG7J7x9f49WLvD86de8erqdt4+28+rBFp7d3cjjpu08vbOH&#10;h7e/5ofD89ixZTxb1ioxkW1rZSDWjGSL0M+nfP1/frSjsnz+UNO+Zq6SeOF8PcX92mgbb0990brd&#10;RXrKACjH/P/S3VpkloX2UnNTQyuCnT1J8veiLj2KSXlRzM4PY4VyoW1jKm8XiNqZL3Q0XySpSM/H&#10;MhjPNg+m7eoemptO8OzmcR5c/4mcglKhlRBMvNQYKg8REo7vY+qAjq0bho6+WHiEytoPfddATAOj&#10;MRHT1cPBW8xXLHbhGgw9o+lpF8KfDISqRJr29UlELzAT89hiTCPT2XnlJk1PL/P2zWlamg/y5tVO&#10;Wl7uhCc7ePlgB0/v7ZDk7+LxnW94fHcPd25u4dTxWSycU8KxQwvZtb6R7ZJ8v6z2PDn8ez3UVFnE&#10;nf3yOF8F9UryFerpZWBDDz1boR9pwKL9O8oAdOhupT0e8pdeVnTtY42OkR1G1g4EBfhRrAphTG4E&#10;jTkRHByTxdWxsbTMF4c7P4mWBem8XFbK628mS/K/4e15iYv7eH3zFIWFZSIzwzGS5Pey8sfSM4Je&#10;pk7axOs5KU+L9cNUKkDfXZIfFKulG3dVNgbe4ThGpdPXPpjekvw/G7jSy0G2HSMw8ElBPyADq6h8&#10;bOJzuP30Bo+fHuW9JL/l9R7evdxP63P5/qfHefXkJ14+Pi1UdIoXj3/k3u09NN1aw+njc1i1uJJb&#10;Fzcycc7c/3l1899b5EN/eZC1knzlgFsvQ1u661oL+m219NO5twxKb6GiPjIY4oa76dhiII1QmYDe&#10;39eP+swEhmj8GZ0SxNaBIkmHJXK9MYa3c1S8WSCUs6I/bSdW03pmI83fL6H1xFLenP+a2qr+6DiE&#10;YeClkrXQirvyXEwPUT6+GDj70s/GUxqvN73sPeju4KM9vBxTVo91uArrYLUkX/qEVRB/1c7870UP&#10;mxBpzNHoeCZgFJSGeXgOXglqXkqzffHiGC1vfqL51QVevzwnVXCN1y9uCg3dksTfkLgk8vck9259&#10;w43LWzl9bCETpvT/JfH/7g+y/rR8+gKrqGrtPbvKIPQ2tNMOQDcZgM66yq35tqKIbOikK4OgZ4eO&#10;hTOW7p64urtrT8BPK49hTLofa2pTOTIig58bVTwX4/VycR5vNg+n7cImSfoK2r6dTtvhybw9vpLy&#10;vFxtAvW9EultGyh04yuNN5juxs5CR8oTSJTjKN50t3HjK0tnesjrsML+OCdkSbXE0dc2lB7m/nxl&#10;6MqXhjJAtiF0l2ro4yED4J2ISUgWJkEaglLTeNV8R5J/m1dvHvD8dROvXkvSlSdSPbrFs4dNPL5/&#10;ncf3LvOw6TS3rh7m0vkdf+N59ejyj6n6j1k+fZGJX3Zbl97m6Ju50EP4v5vQUVc9acIS3fTt6G3i&#10;QjepDH1rV4zs3bHz9CEjIYAF9SpmF4dpL7C9JC720uRCHs3M4u3iIt5uGSXJ30jb9wtg51he7xvB&#10;C1lXalLoZuYnJiqJ7pZ+dDN112p75VLB3mZuQkk+dDZxxNgrnF5CQX3cAskYPBHXhDy6W0svcImk&#10;u6nynB5POhh4yoCF0lPQ312oqI97jAyAVEBAKuYhyZy9dol3kvQ3b59oHwfzShL/4tlNnj2+xpOH&#10;l3l0/yIP717kwZ0L3L99+pfE/y+ZQUhMwx8/faGhZ2pbD0F3L0FgDzE+PaQKukkD7irJ17VyR9/G&#10;A1NHL4wdPLH28iE+Nojh+THMrUhmaXkKF+YO4tK0Ep4uKBSNX8T77ZL8w7Np2zMatg2SqOXhknIK&#10;IoPoYuSBjpik7uZ+dDVSDjG4omvtLdsOdDV2RN8pAF3nQALSSzALikNX+kIHS0m2iTu9rAPorE28&#10;Ox1lrVRCFws/Olv6S2MOpZ9nHIY+0swDkhg0fgy0PODF60eS/AeS/Ju8fHGdZ09u8OiBkvwLPLh7&#10;hru3z/4t8f+rpu1Qls8nrDHxz2/r1Fd4Xzneoq9UgJ3QjQ09je2xcAvAyMYVC1c/rH0DcfZyoTwr&#10;QXxAPlNzkzg6pY7n60bxaG4+H7YMpG3rENp2jaJ1Y50kvoa2TWU8W1RKvIdIWF1H+knTVRDcWeij&#10;i4GT9n4srcSU5PeV3mIdEIee6H519VBsI6VabLzpZOJGT3MF9UJJkvzOxuIDrIPpbOpDJ9nfzSaQ&#10;3k7h9JWB7esWgSo7nTdPfqblrfIUqns8VyhH+P7Jo5uS/Gs8uHeJe5L8T/+/iJH/dRPWfFo+n6rJ&#10;LLS87a/idrtoud9OBsKRXib2WHkGomvhgJWbH/aBYTgFBhAS7EdBYgSTK3JYOyiHpoUDaVleQ8uy&#10;Mlo39Jeopm1jBe/Xl9C2ppg7C4vxtDTW3u7Z1ciTHiaSUH0nbfK7GDjS1cBeuF+5RNwePUd/MVqR&#10;Qk9RWAQlirz0pYOhs1SNVIqZtyTfTdDvoaWwDvJZygAoj3XvZhFAT0sZBHt/sgUU90+t483dH3n6&#10;8JIkXnj+yW3u3bvO/QdXuXTlb4l3+N8xVdOn5fNJyuwShn3o0MeCzjo2wveOgnwbSb4fZi6eGNg4&#10;SeJD8Y6MISwumvAQL7Lj/dg6sZpbcwXli2phYSnvVhbSulaJfFqXZfFhWQ4XxP1aGejQQ1TKl33t&#10;ZO3ennjlsS8y0N1k3UXkroL+zkJBRsplhJJ8Yy9BskMAX+rLz41E3wvFdJD1l6J4OptI4pUBMVVu&#10;IZUBNfOhu4kPfSzdaGzI5Mn+Rq7tnUawpzFff72dJ8+aePjkEqt37f5F1SjXOn1Mw//e5dMfpEQX&#10;fUm8kb0g31Y42QF7vyBpuC44ytrRPwj/6EhCo3zJSg2jTuXL5SnltMypoG1hOe8l2e9XpdO2Oo02&#10;5QzX0nQOTVFj3Le3OGo3OvYTNaWcQhSkK8f0O4nCUvqLEp0M7Ogo66+kAgxlAIw9w+mknHA3lKqQ&#10;39GxDZZtoR6FsqR/dDYW1SPJ7yIV1V2oqIeJr0hna3ZKJb7aVc3dncP5esVIPN0scHDQI3PQzI/n&#10;YZX4TzA93+eLIOGXiSn13BNauxlZomftgom9p5b3rdz9sZVK8A0OIDE+hPzMGEaWxLMox48ns8t4&#10;J/TyTpLfukK5nUhFiwzC++UaVlZH0U97UM+ZDn1kUI3d0LPyFofrKtUltCNo7yzU01HQ30HiC+k/&#10;/ax9Bc1SKUJPCu10NHJBR6Tql/IZ2ltGZTC+ks/pbOQstCViQZpwd6ksM2NTmrY30ralhFdbKrm3&#10;opD7h8d/pmiUS/3+k01M+WmRP+5XU7LqWjkL5bhKuGBo5ybJ98HVy53szCTyMyIZlBPG+v7xHCgL&#10;5MnUZO2d59rbiFakah9y+mZhMiPVIicliZ11nMW4SU8xcMDUKUh7bMfAVjmZ3k4/SuL/IrTXRZKt&#10;YyOKyMSVjkqiP4aefSh/1XFsf23oKNwvgyVI72hkQwcZxO4mDmSEO/FsSz2v1+fxYn0R04bV/UIz&#10;Snz8N//zLr+djNgqJK9NGYBe0gMcffxxcHEiIsyHhqp0hkvy11bFs6s4gPtTUiX5qcL1ybBSoR01&#10;z+enoXExbUe9jtCMjrUgXkG+p0hZV/qJgesidKMk/ysxdsq5XQX1XZTzvILqDjJQHaQpK+pIT0zV&#10;F/2Ui6IE/XqyXxRZB2XQpCq+kvf2MTLkzOo63m3KpmlVwa/QLvGffzLizxfhxV9Nw23o9i+tOmbW&#10;Ije9iIwOJSsplAnFcczP9edgTTQ/DY7g+dwU4X0N71emSPITuDU7HR8rQ1E6glQ9SZo0c+VGCB0L&#10;d/EOyh0pLoJYJ+FuZe0iktJNnG4AnZRzvAry5fe+Et/RQSpHR5yxkvy/6gn6de3pIlXwVT9PGTRP&#10;esngpsa6cn9zKUn5gz/jduX61f9C03D/dvn8H1HCPjS51Ss4EBsbc4aXpjM9K4gD9TEcqfTh3pQ4&#10;3i9WCeUk82GJmhMTMrEyMaeToPorHeF2HXuM7QOlgftL+AmVeWGkPPLLVuF4N+0JFQMnaayC+G7S&#10;bJWHIHXQs9eu+1r5SaId+FJed9AVL6JUkp5wvTRtY50+ROWN/NXf+V96AvrPF6ek0fq/+sckrMLy&#10;25xtbZlemsT3Q9Ucq/Hh1WzlUb4q3gn9tMxJYkN1An2l2XYUuukoiessaO0unG7tITJSkm0oOt5K&#10;JKWR9IA+lh70FjrSdxQ3LKhX7lDspNCOkmxBfzfZpyT/r4L6DgpFyXZv27BW5UDh53+XvXr0zI9/&#10;9v9Zi03iyL6f/6OfYnhJaeuRsgBaF6TD3DheL4zm9aI0xqQECKWIYhGq6KJrK+EsSXPGyDEEHTtv&#10;9IVijF1CtBJTuRe3hzheQ0dxr4YK5wvtCN10FGfcSU9+ZqI8HMOFL8XxmoV9unzvb2GvHjPl45/5&#10;f/7ioBqz+LcJUCI/v7rt2OTk1hfzUygLtpeEKg3yY/IF+Z0k+YqaMXIWurHz115IpTRa5frN7pJY&#10;JfldJPFKk/2UfH2PlFZxo3/3XYJy7BNHBX78k/7vW5w1o4wFdcd+m5jPwyq6vs3AK7VNxymhtZ/D&#10;v7Ra+CS1+icVoC90088hmJ62wa39XGJbDbxTWq2jKtvsVaN+93M+hXzf8I9f/4/l88UhaUy2IPL+&#10;7yXt/0OsUCTwx6/4x/I/sihHUe1Uo4cIYufKwGxXDmiJlH0o0Sxx1V41+lv52SpZTxCnnaKcd/74&#10;q/9Y/k9a7JNH9nZUN/rbJ40u1noZ1ZhvZOCbfqfa/kNC+13yncp3K3+D9m+Rv+njn/eP5R/L/9xi&#10;nz6xk71qbLww22xhuEu/B77/CiEFckn5H+ySRico/9PHf+8fy//ti5NyJlojuko1WvvMlX9rOKlH&#10;fPBMbWgLyq5tiy+tak2vKWotHppH7dgM6hozGTAum7rxmdSMS/+7qB0v75mQSf3ELOomZlA7IU0b&#10;NY0p1IxNpnqMhurRKb9E1cgUKkYkUzpcTfHQJG1kDUhHVZXT+i+lJa2h4oh8Mge2uSSP+N2/9V8L&#10;7f8smlLJwcd0/GP5P3FRpICw3zAZ9Cu/BcHvhV1cTZtNeEabdUBEq42XG3Z+ysw4LjgHe+IY4I5f&#10;XAhBiaHE58aTVJhAWkUSObUaChrSKR2aSfnIdCpGpVI5Oo3+UhD9x6ZT3ZguoM/Qgn7ApGzqJ0kB&#10;TJJCkBgwIZ368fLzRqV4pEjGKr+n/L4Af1SKfF6yNpQCKBmmomioWhsFg5PIH5RIXkOCNnIlcgbG&#10;S3HEk1CeLoVR0uaZ3j4r8r8hrig5+ods+i+82CcoJ3N+fS7h98I+fuAHu/C0Vls/P2y9nLH+GDbe&#10;rtj6COB9PXAI8MI5yA+30EBtuIYG4BoSgItE+2t/XMN88Ir2ITQ5mLi8cDKrhZ0HpVM8OF2KIZnC&#10;QckUDdZQMVIYfny2AD+HgZPbY8DkLAZKMQyckCXgF+Ar3aExjaoxKQL8ZG0ooC8bIaBXmH+4AH+Y&#10;mkIBfr4AP0+ArwV8Q7ysle1EsrXgjyOzPpbMuhgyqqPI6B9FVv8YUspUhGUXtrolD/7dnPw6xEdI&#10;Lj+m9R/Lf7bFXj3K0F41Zs7vD1572McP+GAblNhq5eqGlasjli722jB3tsPCVbmsyAkbL1cBfnvY&#10;+rpj5++Jvb8APzgQz8gIvKPD8YoKxz08RAAfIuAPk6IIleLwl/e6Yx/oiGOwHR5RbgQmBRCVEYGq&#10;KJ7M/hpy65LJG5BCyRAF1IrkyRbg59EwRSmAPIlcbTdQ5FC1AF9h/E/gLx+toWyUmtKRKgkB/XDp&#10;LgL+vCHSaQYlkC2gz2qIk7WynUDmQAG9RMaAWNLrBfi10VKM0WRXx5JTFUNWmRRCgRRofhhZBRFk&#10;FkQTlZnd6v7fKQYlx0quP6b9H8v/jkUGwke5OvK3g/Mp7OJqRapEt1o4WwvA7bByccTCyQEzB3tt&#10;WDgqr9vD3FH2y9rSXUDv6YGtt5d2QigbHy8BvoA6IADbAD8cpADcIsPwio3GMzoWl7BIAXo49kHB&#10;Er7Yh7jhEOqMc6i7dANf3MK88Yjwlk4Qpi2AjCoNOVIA+QMVza4RYCu6X5E+wvyTFODnfAzxCRMz&#10;qZICqJQCqJACKP9UAKNF4gjzfw56JZTtLG0BSKF9BP0n4KfXRJHeP5KMyigyK6LJKAknPT9UQB9O&#10;TmEk2YXSDfLl53mRpBfIOjeSqPQsKYRB/7pMas+9z8fh+MfyH7kox4lFh979u0GQsE8c+sHG/19a&#10;LZ1ssHK2xcbJHmsJSwkLBdgCdmNbe4wkDK2tJCwxsrHG0MYGUykCM2cXTJzdtJfTOQWGtIewub2/&#10;ImtCZC1yJywMez95HRwmOj+JUE0aTiHhAv5QbPz8sVWKJNAfeykSe39f6QR+OMprRRZ5RoUQlhJL&#10;fF6igFBDSmWcyBSVgFoBf/bHELmjlUF51IsMqhyXRfnYTEpHp1MinqF4lIbCkaLrh6oE+CoBu8ia&#10;hiRtZA0U4A9UZI7EANmul0KrFeDXtAM/TaROamU4aeVhpJYEk1YUQnpRKJlFUgxFIoFyIknLjSU1&#10;J1a2o0nNjpa1/E52FClZkURIIThrhv9d3rUhY6KMzcdh+sfy77E4asbGCLs8+72E2/5LTZu5R1Cr&#10;iZ0lpnbmmNqbY6aEbJvbWmJmI/ttrDAWgBsLwI2s7QTwStigbyXgV/bZ26FvY4ups6uANUjYPRj/&#10;RDWesfE4h0fgIuEcFoF7RBQ+cfE4BIZi5ROAQ1AYAUnJuIZHa8Fv6e2nBb+NgN/Ky0sbNj4+IpmU&#10;8MUpOEAKyVe8QADBmjDi8mNRlYgGr0kSaZMrYC+gYWqBaH5hfNH9A6bkUSWFUCayqGRUOkVicgtF&#10;6uQP/8T0n9i+fVth+mxh+mxF29cJ238EfZpInHSROGmKvhfGTymPJLksnOSSCFJL5T2lSSRlx+Ie&#10;7I57iJc2fCP98YsOJFBMfEhiGBFq6QDJ0cSkxxGbHktYakarm+Zf6QYyVsqYfRy+fyz/I4t9/PBO&#10;9urRm34vsVZhhW2Gdi6tBuZmGFtYYGptLeC2xETAroRSAGa2EjbKzywwsbLASAG5pTUGEvrmNuia&#10;ydrKDmM7Z8ydPLHzDhImF63uHyHAjhA5Ey/ALMEzPomglEwCNakEqNWynSqFEIWJmxdGrh7aAnCL&#10;iMFRisDSUxjeP0RMcYBse0vI5/oK2KVzOEox2flIN/D1w87PV7qAH/4JEcRkJZFalkF2nWj/4WlU&#10;C+vXTMiksjGV8sYUAb3sH5VG4YgUCkZoyBsmoB8icmaQyBnR9Mr6E+gVWfMrpq/+CPoqBfhxpFXF&#10;k1wRS3JpDGopOFWRgDgnhricJCngaCnkAPEowSLpQqT4g7CVzmbl44eVt/IYOyV8sPbxxVqK2NpP&#10;itlPKXTpbMGRrc7x/X+3CJQxVMby47D+Y/nXFgf16MrfS6BtXMMHIyf/Vj1zCwwtBMQSJta2WNo5&#10;YuPogp2LG/buLti7KNtiUp2csLK3FfDL+wT0RgrgzSwF9EoB2KJnbqd9cpC+uSO6Ekb2HmJwA7Bw&#10;CxTAhgiAI/GLT8MjWkWIJlMAWkCAdIFACffwSMzdPDF2lO/0CxbZEyFm2B8zVwG7h3yGMpWms3ye&#10;uzC+0gW8AwT4YaL5o7Xvt5ICsfL0kc+JwCcmhpjMVAGhmoxq5VBlFpVjskXLp1M8MoWiEckCevEE&#10;w8Qci7TJEmmTKWyfqeh4ifQB7ZFWn0B6XQIZNfGkVsWRXC6SpSJe2F22ywTsZfGoS+PQKOviWOJE&#10;w0dmRhCdFUeQJlY6mvxdvvK/+4Zh4aPc3x8sEfQxgmVfe/xtn4RPoDYsvAPlfwzE1ksKJyip1SFx&#10;yN+NX3uMrvw4zP9YPi2SlDW/lyxj76S2ngaG9DY0oo9EbwMjeuoZ0FffmD66hvTsp0/3Prra6KVj&#10;qI3eukb0leinZ4SOvE/P0AQ9YzP0TS0wtrIVve+KrZu3SCIX+VwzehmYoWMiXcDUVgrBHhMHd+2d&#10;2g4+Qdh4+OIaGIZniIBUjKxfZAweou+tXN3FDLviLAzpIYWggFwBu5GjB8bKfLJSFIpfaAe/wvSK&#10;bwjXdgQllELwks9yEWPsGRkp2j8BVWEKufW5FA7NpWBoBgXDUkXHp5AzWCOMriFdDHH6QNXHULZl&#10;X70SatJqNaRK4cQXRJEkwE4uTSRJGD2pIA51YSKaEhXqokT5jniS8qOJzYqQ7wyViMQnNlQ8SpAw&#10;eiCmym37HiGYewmwtSHglrWFAN1CKQBtfHr9t7CUXFn5KsUTLN1A6RaBOETl/ivGePSaj8P+f+fy&#10;Uc4c+m1irKOr2/pa2KMAvpeAXQnttr4CekN66OjTo6+eFvz6xpYYKFN3K7cdGdpoQ9fAAh09U3T1&#10;TdEXYBsYmWFoYoGBhI4UQD95rWsi+0QmGSsG11IJ8QHazmCFpYOjhANOHu44e7nLWgDu4UlwRDS+&#10;YnY9A0UWuXti4eSMo2h4J19/dKWgjKWgjJ3cMXURfS+srsgchdmVtVdkrLYz2ApAFNAr226hUdqf&#10;K2baOzqG0GQVSSUZ5AzIawf/ENkelCpSJpXMgcmkDRBDXJdEcm0CmppE1P1Fm1clkVieQGJZAkkC&#10;9ri8WKKEycNTwghKCsQ7yhuXIBeiM6KlAFSkFqtJEHkTlRZGmDqIgLgA/GKCtecpFHlmJR3L0lNh&#10;cX8Jv/YQuWMhMk0b2v3S1bTRzvbaULqFgN1K/hdrCVuRSo4BgXiGhRGsdEnNr+9zUEIZ+/+rZJBt&#10;4hgLqfqrv02ERUhhW/c++vTsa6BlagMTU4zMBJwiT4zNxISa2sjaFiMTa0yMrTCXfZYWNliLdLEy&#10;lzCxw8bYFntTa9xlX4C9A2EuDkS6OhDuak+oiy3BLnYEOMva1ZYgJ2s8bUxwtjHCyd4UJ0czXBzN&#10;8XS1xt/DngAvB4J8nAkLciMm2INIXyeC/V3x8vXA2kW8gcgqMxdXjKRQDOzsMLC1E8lkj6GdPRZi&#10;lB0EMM5SJHaiiy3dPbRrWwGSvQDERQpIOf5v5y+AEf3sIgDxTYgjMitN9HgheYNLxKjmkFGfLhIm&#10;hdRatQBdhapKCTVJ5YnEilYPKQ4jsDhcIoKQwmjCsiMJSAgiOD4C34gQvEKks8hnB8ZJIcSHEhgv&#10;P0sMEbD74h3pRURaJOnlGaSVpUtkklyUJqY3g3hZx+SrCcuIwS8pDI8YkWqREXjGROMRG4ZrlHSw&#10;0EDpFBGyjsVKPIy1vxKBWp9gL6B3CvAnKC6S2BSRV5kJJGcl4J1c9ztdYPRVBRMf4fF/3qLco27/&#10;2Q2in8LYN72tY09duvUxoI+wtK4wuL6JMLmZOUbmEsLMJrI2l7W1pQUOYlg9xLh6C2h9rQ0JtDUk&#10;wsmUBE9rkr1syfKzozjAjupQRwZHuTI82oUh4Q40BNswSGJ4lBMj4zwYHONKRZgN2YFmpIaYkxJl&#10;R0qMg4QTmmhn1BEOqMIc0US6oAp3IzHcm9iIAIKDA/BUTKuwupm9Eya2yuFSZwknTKVTmNg5YCav&#10;LcV32EhnsPHy1oYCfhsBuQJ8W2FPRQ64hImZDgrRAj9AlUhYerKALl1kSzaZA3IF9LJdmyygTyRB&#10;9Hq86PX4sjhiimMIL4wkMC8Mn+xgvDMEzBmh+GtCCBagqnNT8Rbgu4aG4hYeLuwfI/ulGKIDCYgN&#10;kgIIJCghAE2BikwBfnppCmklKWRVZJAlrzNLU0krEuNdKN6hRKRWWZZEPmnFWaTKz5KLNaikMBJy&#10;0ojPUTyQmojUeEJV0USmxBEh68DIIOJlW52eQKpEekYcmQL+jKx4AlKr/r4DCDb+wx6Q879rcVCN&#10;2frbf1TfU932ZW8DvuyhR+c+iowx004d3U9ki66xIk1EjpiaCcubYmFujIOlsTC0MZHOpiS7m1Do&#10;Y05NkBXDIuwZE2vHpCQ7ZqU4sSjNhZUZrmzKcWdHvgdfF3pxqNSfw2V+HCz25mCRF3sKPNmS68b6&#10;PHdWK/MCFnsyN9+TyVkuDNfYUxdrRWW8HeUqJ4oSXMiQQokV8Pt5O+Dm5oiDMLqdyBprRwkHVzHS&#10;AnQHJywVwDu7YCGdwFReW7t54Cpt39lfjJ+vSAYPD6ykCKxFHimhgN4jKga3iEj8kxKJzE4jOjdZ&#10;ZEs6Kf0zSa/NIKUmWVg+ibjSWKKLIokSwIeLlg/OE32eIUysCcYtMQgvAbNXlC/+MQHECtA8IoV5&#10;Q0NwEhOtnHWOSFERlBgtwA8hKiUGTa6YZQGxAvLsslTyqzIZOKKKgcOrqB9UzIBBBdQ05FJSnUFu&#10;WRoZUpBpxVIQpSoJAXKZSKeSNJFPWbI/k5TCNFIK0sguzyZKFU5EfLCAPpaUzDhSM2O1gM/MFuBn&#10;yzovjpz8eCn08r/vAKrR2z7C5r/uIjpu9G//MbPgIi3gv+pjSEcBvPJs/q4SvXTEwIph1TMwwcTE&#10;HCsLS+wszHGxNCPE0YY4ZytyvKypDrBhlIB9bpIbq9O82ZLlw65sD/bnu/J9qRcnKn05Xe3PhboA&#10;Lg4I5PLAAK40BHJ1UBDXBwdzbUgIV4eGcXl4BJeHRXBlqMSQCK4OieJMfRjfVQazqzSYVSVBTM31&#10;okEKIS/WlrhQW8ICHfD1ccTeyRZzRdI4OIvscdMC3krAbilhLLLHUgrDysUdcycXrRFWZI9rcAie&#10;ERHY+bWD3jm0/YyvAsyQ5GTC09IE+OnE5KWTKHIjpb9Inboc1JWpouNVxJUkEF0YS0ReFCE5Ufhn&#10;ReKRLFIjIQJnkR/u0cLuId4EimZPzU8XORMuBRWFi3K4VeSHlRShlasrLgHynrhQEkR+aHITSckV&#10;GZIThypdjHFqBOqUCNJE4hQK0xdXpZIj3UCdIxIrJ5mcqgKypEDSq5JJrZCQ7hCWnIhPdByBCeJR&#10;cnJJLSogQh1DbFosKgG5JkfMdna09uRYRr6wvhjs7IJ4cgsSyBPjrYRf6t9LIOkAYz7C6L/OIlWb&#10;9Nt/xCa24YPy2LWOyqRzEsp8l137GdGjnwG9dfTQ09PDyFAfa3MjXG3N8Rf5EuxgTJyjCcUiXwYF&#10;OzI50pXFCW5sTvFib6YPh3K8+KHAm1PC5OfKvLhc6c+1miBu1AVxs15igMTAIG4J6G8K6G8ODebW&#10;sBBujgrj5uhwbo8K5+6oUO6PDOXRsDCejYzh0Yg4rg2O5nh9ODvK/VkmnWBcusiiREdSw+yICXLA&#10;388ZFy8X7D1cBOQO2Lm5YOvqgoObG+5+ImcUZpeCcFU0r5ePFvwmYobdFLDLPuX4uKuwvFdcPJ6x&#10;cQRrkolITyMqO5O4/GzUIitS+wvI6otJq8kT85pKgkiRaDGowZnR+KcLi2vCcIwLxy46CruoKCkg&#10;xTT7ERIbSkFZHnHqJPzEQLv5ie6PFLaPTsRNjKezrw+h4gGSMlRoshJJlgJQC0iTNNEkqCKJTwon&#10;Nj6A4vJUckvk92Kli4imD06MxT8ugrDUaDRlKaRUihfIT8EpJAQb3wjR9dHSzeT/9fcXSRUmXUeK&#10;KUcprnhS8xLIFKBnFyaRIxIqtyiRfFkrUVCsknUiGQUpuCUP+xVmtKFMlvpfYRGzsvO3f3xv64DW&#10;TsLyXfq2g12JbrLdXUDfR0dfQK+DmZE+9uaGeNqbEeZuTqK3kUgaXQq9DBgVbsM80d4b1e7sTfPi&#10;+2xvTgjgfyrx5owA/ly5FxcrfbgiTH+9NpBbdcHcGRjKnYYw7gwScA+R9RB5PTREG00jwrg9JoLb&#10;jeE0TZCfTwzn/qRwHkncGObHzeEhUhSxXB4axYn6UHZUhTKnKJiBiW5khzuJ2XXB399FwO+Es5cr&#10;zp4CcndXkUEuuAnru3p44+gpgP+o87VrkThOYgJdQyOwFfA7BIfiKcAPUGsITUkhIiNdzG0GicX5&#10;5A6soWRYPcVD6wT8ZYQL4walizTISsJXE0lIZgzuIieso0IxD4vELDgcU0U+ebsTFBVMcWk+miQ1&#10;wQFRBPjG4B8cj29wDPauPthId/ILCSROEytSRAF+kqzFgIoJVWkSUCXHkZAUTLoY5cJKDVHqIDyC&#10;lbO5oXiEi27PUZPVP5ucmlzisjRSbKECfAX8Iq3Et7iFBonOj9VKKU1OvDB9All5ScLsyeQXpgjI&#10;U8gTsBeWqD+LpPYoTpTukvOr57q0x2eTF/5nW+w1YwN/+wcbB+S1falMxSbs3knHmC46JnQXWdO7&#10;lz79eutioKOLpbGhVs5425oR7GRFnLsDaWJSC7xMqPM3Y0q0AysSXdmV4i6A9+J0kQ9nS30lZLvU&#10;gwv9fbkiYL9eE8hNYftbtUE01Qdzb0AIDweH8WCEAHtEKE2jBPRjQ7k9Loxb48O5KWC/PTmCe9Oi&#10;eDAjmofTork/JZIbYwK4MNida6P8uSvvuzLCn4PVHqwv82FWnh8D1T6khroR6O2Ep4cjHp7OuHtK&#10;IQT4ybaPhIDaxQtXMbBOXr5aKWTh7IaVu7fofNHi0Ql4x6mF8eNwk233eLUAOZ/IfGH36mqSSvLI&#10;G1DO8BljqR3bQE5diRRHPLaBQRh7+tPV3JF+Tv4YeobTx0HWbuGYeEZi6h6ufeCEjVc0bsFqAqKz&#10;8AlPJzQhD/fAGMycfDC08sDYylO6QJQAP1MYP1OAn0JqdooAXfR6uniL1GSSM6QAUqPIK0smuzSR&#10;dDHTMel+JBWEkVGpJrs6i9zacjHNGmz8BPgBkVj7hUlBi9GOiiBRzG5yvkpkVBzpwvRZAuicUmF7&#10;8Qd5pWqKS5IpkQ5WXJxMUZFIKomSItlfKCFdQImgtNq/lz+CsY9w+8+xyB+14rd/ZC8r39YOAvqO&#10;/YwF9CZ0FOB37mdIz7766OoYYGZohL2ZCd52FoQ6WxPrboPG05YsH3vKRcePj3JmscqLTam+HMj0&#10;50ReIOcK/blUFsClcl8uVfpxpcafixKXakXHi7RR4qro+hsNImlEx98ZGc4dYfZ7E6K4PSmCW5Mj&#10;aZoZw725CTyYn8TDBUk8Xqji6SIVz5SQ189l/wuJ53MSeTI9lgdTovh5ZKDoficWZDoyQuVCVZIf&#10;qVF+BPoI6N3tcRXD6+npKtvuUgQ+hIiu9gwMwV0Y3k3CzFE59OmOhbuPSINIfBOS8UlMxi02iYic&#10;IsLyCgnLLyC5ulIMbTnVjUMYt2g6o2ZPZPDkRkqHDpNiScHUIxzpnvSwDKKndShfGnjQxdSPjkZe&#10;dDR01z6kr6ORG12U6atM3ehh7kEvSx90bMLpax6OjkUMOpZRGNpGY+wQjr6VNyYO3iLFfLDz8Je/&#10;NQK/iHjxCXEicWKITkkiuyJPq+vz6jLJHyhGd2AWBYOKyKktwTs2WnuJg21QJHbyf7mGRxKRqhGJ&#10;kyqg15CWn0SWyLPcYo3IJg0FAvZCKabi8iRKKgTg5YkUlSVIh2qPIvExJUpIoRQXiUzKyf499l/x&#10;EXb/+xYH1Qid3/5h5qEl2pm72yeQNtSaV4Xplcnluksh9NMxxMLIBBcrC3ztzYlwskDlbkWmhwWl&#10;/tYMjnJjWpw7K+Kc2Kn24LsMX05lC8AF9DdKArlW5s9VMbCKrLlSJ68HhnBtUKiY0zCuDwvn+kgB&#10;+NgokS+x3J0cy52psp4Rx91Z8dyZG8/9hQL4ZRoer0jhycpUHq2Q7WUqHi+VAliiFEASzxYm8lyK&#10;4OmcBB7PiOXx9Biuiyza29+bGSlO9I90ICvCk/hwAXmIF15+7jh7OMnaG2cBv1eAMHtImIAoCi+R&#10;NjbC/KbOovNdvTH3CsBRtLdnvAYPiZDMPIJz8okqKSKttj/lo4ZQOXIg01fMY8H6ZQyfPI4RU6eS&#10;238AAXHpIi00UkRqdC3jJeLoZRJBT+MwepiE0c04VAAfSjezMCmCYNlWpuMNpovywF0LKRgr2WcW&#10;SA+LECmIEHpbhUooz/OWbUspKolelmH0sw6kr5UP/Wy8sfQOE0CLvk9KIjonQ3uuITonm/D0HCy8&#10;QtC198HES2SXf5S2i8Xl5KHKzSStIIPsolSRNSkC+GSRMsLspcL05QJ8kVAllcL4YpCLy5T98lp+&#10;ViqFUSbvV6JUukFpkRIaMb8Dfufoz4j//ixX/xGLo3p0yG//mL72Ya0dBPRf9dDTGljlMGUXBfhS&#10;AL1kradrgrWJJf4OzkSJGVSLVMj0sqMy0IGh4S5MjHFnocaPTdJW96W5cyzHm7MFvlws8uNaqQC/&#10;MoDr1QL2AcFcF7DfGBbJbTGkTaOiuTM6mruNwuYT43kwNZHHs9Q8nK3i/uxE7s9LbGf4xSqeLE/W&#10;gv7xqlSJZJ6slgJYk8rTNRqerVTzbJkAf7Ew/gIB//wEns9N5MXMOB5NieWkmOQtpX5MTHanKMye&#10;5DAP7aNYA4J98A8JwDvAVySOlxhIMbhiah38lGPmSbgEhWHs4qEFvqmHcmFXFMFpOQSn54pZzSO+&#10;tIr4kgrSq2soHTyQweOGM3PxDJavW8z0eRPZe2g3z9884eHLx9x59Ihzl+6w9+AZFizdxuCRs8kq&#10;GkqMuhwXXzVGtqH0Mvalj1kQfS3CpSCU2SOj6GkRKx0gWkAfSU9h/e7mUjCy7mkVKcCPopd0gV62&#10;UfS2iZBikPdYKGt5bS0/k2JQCqSvdbAUhaytpINYRsvnx8l2PDoOMeg6RWLiIcwfGItnRCxBcYrO&#10;TxN5IwUgoM8RDZ9fJtq+XORM/wxKqtIE/KmUVqRSXpHWHuUpVIiRryxNoVKKpUp+r0K6RamsE3M+&#10;Tlb+WSgY/AjH/zWLnWpMxW//iB6m7lrQK4BXgK9sdxHgd9URTS9hZWqJu7UtwY5OYlzdyfZ3pzzE&#10;jUHC8BNVnixI9WZ1ipd2ju79WcqRGj/OloikKQ/gWqVo+CrFuAZwQxi+HfQR3BgZxa3RAnyJe2Ni&#10;uD9eQD8lgUczkng0R8XDeRILVDyQeChM/kiA/3SZmhcC/BerU3m5No0X65RI1cYrKYKXUgwvl6t4&#10;IeB/Kd3hpRTA23lSCFPjaBoXw3H57i3lgUxIdqMw1I6cOF/CAlyIiAgkKNgfb39fPIKCsfb01TK9&#10;pRhd5bCid2wixiJ1DAX8CvCdRFJE5BaTUFZDQnmNgL+S+OISsmuqGT5lHAtWzmfXvs0sWDyF9RsX&#10;c/3Gae49uMydB5d4+Pgqj59e49mLW7x4dZcXrx/yQgrj2evnPHj2mNsPH9L0+CmXbt3hwA8/MXvZ&#10;DgaOWUBiZjUeoSnYecdj7BhJD+NAepooMihGgCwgtlTWkSKNougn4O9tFkEfi2h0rOPpYxUnHSBB&#10;IlEKQCWAT6a3eSo9TZOlSBKlMOIlpHikm/SzCcTQMQBT1wBcRQYFJyQRJ+ZdnZtNSmEGWZXZ5PXP&#10;pUAMcoEY5aL+mRRVpYr8EYZXuoFIoaLSOErL4ikVb1ComOEixTNk/R34FSx+hOV/7GKvHj33V1+c&#10;MOxDpz7mWrB/AnyHHrp07m1AHwMz9M3ssLCwwdPOkjBXGxI87MgNEp0c6cbgGBcaE11YkObBxhwv&#10;vs7z4vtCX06LnDlfEcjl/sFc7R/EDYnbdWJOB0VwR1i+aXhUe4wQppe4OzKae8L2DybFfwS9Wlhe&#10;xT0B/D3R8PcExPeXJPJIAP18ZQpv1qTTsiZDIo23Av7Xwviv1iqg1/BaCZE/r0X6vFosoJfffyef&#10;9W6WML+A//KQAH6o82N7VRAzsr2pENmTHe1FTKAb4YFeBAd4Y+PijHNwKNYK8L38cI+KExkQi3N4&#10;jBhUP8z9QvBITCEoPY/EyhoSa+rQDBhAQlU56opSyoeJ1Fk6hz0Hd7Fq/VJWrl3M5WtnefX2CY+f&#10;3eXp89s8e35LgN/E85d3JO7K9h2Jezx8dJtHT+/y5PkD7j9q4p68vvPgGveeXOPR61s8fH2T+1Iw&#10;D99IcTx7yplrNzl47CybvjnEjGUrGTB2Epq8BjyCs8WbxGFkF4ueTawUQzR6DrH0s4uhn728dkig&#10;r30S/WzV9LFOEZmkkSJRC/iTpEsk0Ms6VvZHixSS35ff07WLRl9Cz0GklIMfBsokQh4hIqVCsA8I&#10;x02ZtU88Q1Rykmj7VDKLMigUf1EiBVJcIdvlaeQrZ5cLUnHW/PbJj2PmfoTnf8xirxq9+/MvtAiv&#10;bPuyhwF/7WHIlz2N+KqnIR2VM7HdddDVNcLU2Axbc2F6eysiPG1IDnAgP9iBunAHGmOdmZXgzDJh&#10;zo3pbuzJceNokSdnKny5UOXH5Sph+hrlWHwYtwcK4BuiuDNEYmg76O+MkBgZyd3RoufHRHJf2PjR&#10;lDgez2wH/uP5ah4t0vBwiUieJbJvqWh2Ab7C6G8E8G9Wp2vjtRRBeyj7Unm7SophhayXyfuWaHi7&#10;WMN7KSBl4qK3s8TsTgrn1GAPDjX4sF2M9Ix8b2oT3MkMdSPKy41gkTjuImfM7N2w8hDJo1yUphhG&#10;kTaeqlTcEjToe/hgHxGNlyqZUNHExaNGkTagnuxBA8XgVlA0rIEJC2ezftcm1m1dy4q1izj83R7e&#10;vnvM05e3P4L9Uyiv20MpCCWePLulfbr846e3P8YNKYT2ePzsOg+eXJGiuMpd6R5N9y5y++7P3FLi&#10;zgXZvsSNu9e4fb9JZNU9Wd/j+t07XG1q4viZc2zYvosJ02dTUTeE1OxiwuIysfVSY+IUh55tJHpK&#10;odjHoWMfLwWSQG/7RHpJgfR2TKaXoxSIgwYdu0QpGHmPvFdfZJK+nTLFWRhG9sHaZ9OaOPhj5uSP&#10;uYuQhIsPFi6emDq5Y+8dgG9EDD6hkbgk/frpEQo2P8L033dxUI1Z+/kXmQQUtP21qxF/7WaknYpM&#10;G/K6U3dDevc1xtzUBld7R/xc3YjwcSUtxJmSKFcGinFtTHJjnsia1Zm+7MgP4EBRIN8V+3KizIfz&#10;/dtN680BIdwaGEpTg4B+sDJZt8QQiWHRH9leAC+6/uH4WJ5NESkyTfT5dA1PZyXzdJ7EQolFoucF&#10;/I8F/I8F/FqZs1LYXAD+RgCuxKvV7aF9LWZXiU/Af7s0mWYBf/MiFe9F9jSL5n8xO55rY4I4NyKE&#10;QwODWCVybJTKVf43D0KUi998fHB198XRKxALZy/M3Hwx9wnCJSYJt6RkbbgkqNDz8MIpOhbflFTC&#10;cnIoGzOG7MENqPuXkzuwlsb5M1m1bT1rN69m8/Z1bNu+hjv3L/FcmSrnzT1tKNPmvHzTJFJHgP9K&#10;ZI92Ld3ghRJNUgTt8eTZTVnf1K6VUArh0ZPr2rUSDx9f44EUghKKnGqSIrgjBdEkRXDtxlkuXTnN&#10;pcunOXP2OOfOn+Lni2e5eu1nrlz5mYuXznPlxjUuXb/B6Z8vc+joSbZ9c4SVG79h5KTFFFSNISS+&#10;DCe/dGw9U7B014gEUmPuloyJswoDKRJDCSPHBPSlGPRt4gT8iZg4qjF2SMJIuoWhUzj6UhAGDkEY&#10;OyvTzinbAVhH/eaaH8HoR7j++ywO6tELPv8Cs5DStr90MeLPnQ0ljFC2/9rVmA7djejZxxgDfXNs&#10;LWzxcXImwtubZDGApREu1Me5ME7jwZwUTwG9NzsF9PsV0JcEcVK0/IWaEK4OCOW6cta1PpRbA8JF&#10;3gjAh8Ro496wWO4OjxG2j+We6PoHjXE8nSR6fKpGNLjodyVmSAHMkQKYp+HJfAkB/tPFyWJYNbwQ&#10;IL9e3g7sN59CgP76I+DfiPZ/vTxFQN8++32zAnyJt1I4b5eqaRbZ0zxXxaNxkdwZFc41kVnHGqJZ&#10;kOXJELUXyaEueHs54OYlOt7NH2tXYX4nbyyUS319Q/BMTMY7OR1PTaqAPh4rMb1+yakieTLJGTSY&#10;0jGjyRXwFw8bxJBpE1i6eQ3rtq1jw9Y1rN+0nDPnf+Tl2we8fnv/b9F8Vxuv3t7RAv/lL+BXZJAC&#10;/E+FoHSDW7+KT0XwqRAU4N9/KN3gwUXu3f+Z+xLK+s6d89y6fZYmWd9uOs+du+e5cfMs1679xKVL&#10;Jzhz8nvO/fQjPx3/jqNHDnDk270cObSX74/s58SxI5z+6QfOnj0hcZzT50/z/enTbD/wLcs3bWfG&#10;4tUMGjON/MohxKaW4RmaKsyeiJVbIuYitcycYzF3jcbCLQZT50jpDmEC/AgpBCkGhwhsYup/c8Tn&#10;32nqDvmwiZ9/sEVE/7Y/d9HlT511BPR6stblj510+KKrLl3E2PYTiWNmYoKHgy3h3s6kRvhSGO1D&#10;fYwrY1UezBTQL8/wYlueP/uKgjhSGsyJ8lDO1YZzsT6EyyJvrtUFaUGvlTiDRL8PjeX+sDgejBDz&#10;OiqRB2MSeDBWTOz4JJ5NFhaflsxzYfsXM8SYzhLjOkf0+lxZz5f1AgHzYgH3EmF0ieZlou2XK2sB&#10;txSBEm8VsEsRtKxI077W/uyzeLtMWH+5SB5lXvYFUiCTpeBGhvJkZLj2MOrB2mCmZbhRHONIiI8l&#10;Li4u2Dv5YmbrjrGdO0bO3ph4+GMTEolbvJrA9FxCs/PxVqfiKqY3WJmTvaCQmimTqRo/ltKRwxg0&#10;aTyL169i487NrN+6jlUblnP42AHetj7nzbtHvGn+WAC/Av5NiXbmf/HqTntHkPgt6D8x/6fXn4Cv&#10;ML+W/SUUKXRPiuCuYqjvC/tLaLvAvQsii85x885Zbtw+I/ET12+e5MaNE1y7flyKQeLqSS5fPsm5&#10;c99z5sz3nD79PT+d+o7jxw/x3Xe7+WbvOvYqsX8D+/ZvZt/Bbez7dhcHj+zl4NED7D20n227d7Jx&#10;13bpeNuYt3ANYxpnUlk9jLSsCiLjsvANVeHsG4O1Wxj2cQ2/Pdw58SN8/+cWB9XoIZ9/oHXMgA9/&#10;7aov7K6PAn4l/tipn4C/L19266e9E8rU1AwnW0uCxMTG+rcbv8p4L4Yn+jA11Z9FmQGszw1kd0EQ&#10;35aE8EN5OKero7k4IJrL9RFcEfDfEJlze0C7rr83RAF9QnsMlxiZwMOxYlQbk0TmJPFkonLEJVlA&#10;n8rLmQJ0iVezZHt2Mq+kAF7PE2ALWJsXCtgXp4t0SeedgB8BcasUwPtlqfI6hXcfi+BTKK+1+7Tg&#10;V2SPhhYpoNZF6bTOSaZlUgzPRwbxcGQwF4eHs6s2jOEqZ2JcDQj08sDM3BlLWw+RPCGYufii7+iF&#10;oXQBp8hE0fapAv5sogpKpAto8E9JI7G8goyB9YxaNJ/6yRNpkJixYgkbd29j14HdrFy3gp17d/BU&#10;TOnb94952yJrJd7d503LXYk7v8Tr5iZtISgySBsCfqUQPoXSCZT4vBP8iv3l9QPxCfdl+54UxB0p&#10;AiWapBBuP7zELekIN6QArt05J9pfZM9tWd+S9c0zXBETfunaaX6+cpIzF4Tpf/5R4gfpVkc5deYI&#10;J3/6ltOnvpUu8S2nju3j2NFv+PH7r/lBPMy3B7dz6NsdHNi3hd0717Fzxzq2bpTiX7Oc7ZvWsn3z&#10;erZsXMuG9WvZuGEta9euYumSRcydNxefjLGfA1+5xmfIRxj/jy3SMtw//yDlwedfipRRQP+FxJ86&#10;G0gY8oeOwvrC+B2669NLtL2ttS2+rorEcSbJz4k8AX7/BF9GJwcxLTWYxVmhAvwQdhWEcrA4TIAf&#10;ydmaOH6ui+HygEiuCstfF0Pb1CDGdVAM94cKuw9P1AL/3rB4kTrC/ML4j8Yl8XiCSBuROk+F9Z9M&#10;VfNUmP/FdAG+gP/NbGH42cL0UgCvBahv5wmbL0inRYD7bmEKiPxhSTLvl6Twfmk78JU5iJT4BHol&#10;kMLQzsqlvG9xmvxeJq1SRK2zEmmbFcebSfK3jg3lyIBgVpaFUCsextfOBltbLwyMHdA3c8TC1R8r&#10;3zD0nXzQd/XFWsyZmzL9fWoWCaWVJJZVaIGfXFNL/dSpjFu2mOIhg5i5cilrd2xh8aqlzF0yV3Tz&#10;Km4+vCHAf0azGN1mYX4F+G/f3ZP4NfiVYvjUDf5bwP/E+p/A/3k8etreBR48UsywxMPL0gUuaU1x&#10;uwcQMyyG+Obtn7lxSwrh5nmuXj/LlaviCa6KF7h8XArgRy5cVgrgiBTCYc6e/068gnSA01IEpw5x&#10;8uRBThzfz/Ef93JciuDED3v58buvOSJFoMShA1vZf2ALu3atYeu25WzeJGSwYRHr1y2UWMCa1fNY&#10;vmwG8xdOw0nzGfC1Mdr9I5z/7Yu9asyDzz+ku5lP6587C+A7KUDX4w9dBPSi7/9JgP/HDrp06KGP&#10;oYk1zo4uhHh7EOvnSnKgM4Vi+uoSfGhUBzMzLYyl2ZGsy41gZ2EkB0uj+b48lpNVsVyoS+DKwBhu&#10;DIzmdoPo+MEC8iEC9qFJAnoVDyUeDRewjxSTOkbN87Gi28dpeDZeJM4kDS+F9V9PF6DPEMDPTJfI&#10;4M0sZZ2u3fdaKYaZwv4SzXMyeDs/g2YphOaFwuqLFfALwAX0rSJ7EIZ/L2ttISyX962QgpHu0Cag&#10;b1uYJSEdQzzDuwWxNM8M483ESC4PCmKvyLTpud4k+FtjY2OJvb07lpbC9KZumNh44R4aQx8re4xc&#10;fbD0C8MhNJaQjHzS6wZROnocSeVVVI0dz6h5wvoTxjNu3jwWb1zH/NXLmbd8MauF7c6KsWx+/0Ir&#10;d1pQJmZ/wJv3AnoJbRF86gQtsr/lnjY+9wSfjLES/1ohPHt2jadPr/BEG9d4rBwKlQJQjO+nuCtG&#10;WwmlAO42nePO7fM03RIJJMx//YYwv8QlxQNIXJQiuCBFcO6isL8w/2lh/tMC/FPC/idPHZAQ5j8u&#10;zH9MmP/Hbzh6dA/fHd7FYWH/bxXg79vMN19vEPCvZdeO1drYuX0V27YuZ9OGJaxfu4C1a+YxfOK0&#10;Xx3nVzD8Ec7/tsVeNXrZ5x+g75nSrus/gl4L/A46Erra9Z/ldadexhia2WPvoNyw4UNEoC8JoT5k&#10;xgZSrg5geJYvk/L9WFAYxJqiUHYUR7C/OIZvJY6WRHO2Ol4YP4FrCvgF+LcF+E0C/LtDFbYXXS+g&#10;fzgiiUcjVTweIzFWWH5cMk8npPB8okicSRJTUnk1VYA/PZO30wXc09N5O03ALkXxZooYVDHBLdIZ&#10;msUEv50sMTVJfp7Eu9ka2qQTtIkMahNWbw9lW9mnyCHR98vV8jqFtgXJtM1PEuAn8m5xLC2zI2G6&#10;dKGxMZwYGsXCUj/yYh21tzMaG1lKAfhjYOZFT0M7+igzoPoEYeEVhKF0AVPPELzjU4krKKdizASG&#10;zpxH0dCRDJs5h9EC/oaJE1m+bSsbdu9i5qKFLJXWvmHbJp69esT7thc0I1pfwN7cKgB/L/HuoTbe&#10;tkgn+Ah+rRQSP/CLJ/isABSwfw7+XzrAy9s8eSHa/7nIH4lHz0T+SNx/LLpfmP+uEsL+ysk0bYgB&#10;bhLDe1u0/w2RPtdundbGlRs/ceW66P1rJ6QDHNcy/wWRPefFpJ8794Ow/uFfwH/i5D6On9grBbCP&#10;oz98I15gD4cO7dRKn0PiAfbv3cQ3e9azR8C/e+caLfi3b12pBf6GdYtYt0bAv3o+2XWTfnuYc9lH&#10;WP+3F6mSlM9/0Sq67oNiYj9neyX+0kG0vRIddfhLFwP+2t2Q7nrm9DWwwMjUCnMLS5E9Fvi6OxMr&#10;BZARF0Blahhji2KZWxnPyqo4NlVGsbMikv2yPl4fx7mGBC42xHF9UCy3RNs3DY3jrsibe4qxHR4v&#10;wBeJMzKRx6OkABTwN2o+Al80/SQB/WTFeAqjT06REJBP1PB2goBbonmiAF72t0wVCTNNgDxDOSml&#10;pkVk0Ju54gfmy+8K0N8uFYYX9lfkD0uTReLIe5ZKcSyNF9CLvJmbQNuceN7NjxOjKzFP9kvhvJYC&#10;uzQ6ie1i0oel+RLj74KViSWGRk6YO4dqr2npaGRNX+kCRq7K/aqJGDr6Yx8Yg2eMGlVJfxoXrmDo&#10;jHnUjJvEyNnzJOYwd80aVm7bzuQ5c5kh4J+9ZCGnL57mtcL675/y8t0DXgm4XynMLkBXQukGvwf8&#10;3wP/p/gkh569auLxy7s8enmHR1II2pBieCzAfyjMr5w11kof0fsPPrG/yJ8mBfz3znLrzhmRPj9x&#10;4+YpYf+fRP6c5KoY38vXjmnBf+nKCS5ePK4Fv8L8P50+9BH8InlOHhDw728Hv8ieI2KEjwjzHzn0&#10;kfkF/HuF+T+Bf+f21Wzd/In1F2qBv3rlPAKyx/2CXyUUTH+E97++2KtHv/n8lzrpOrUqwP4E/D92&#10;FEMr8Ynx/9ihvSg6COP3k4F1dPPGzz+AiNAAQn2c8bI3xs5YByMxvlaGJrhYmuLrYIYq1Jn+6cGM&#10;zotgrsidjbUJHByYwAkB/7mGWH4WfX9lSBw3hgjzC/jvi85/IOb2sWw/E7nzRInRap6N1fBcmP/5&#10;ODUvRfa8maCAXUAu8UbM7xtZP5+QyovJWWKAC3k0JZ8HEg+n5XN/WgFNMwq4NaOIW7OKuD27kBsz&#10;srkqBXNLfMM96Qx3J8Ryb1oid6aI7JoYy/NpKl7O0ohxlu+alyyySQpkdoa229walcCR2lDminHP&#10;CnbG29YaAwMrepk409nEgQ4mtvSy8aC7mQumrmF4RKTgGBiLfVAkSUWVFA8eRU3jZIbNmMuU5auZ&#10;vW4DU5YuY9bKlcxYvIQxU6cxae5cvj58kFe84SXPeSEAfyHgfik6XymC1+8V1lc6gbJWiuBz+SP7&#10;PoL/94rg01GgXzrAy/bj/08F9E+fXRfZc5WnAv4nj6QA7l7i0f0r3Lt9UdY3ePmkifMnj7Bnywpu&#10;XTrG3WunuH31BHcF/Nevn+DCpR/5WfZdENN76fIJfj4vhvfMYc6d+Y6zivQRw/uT6P1TJwT8iukV&#10;1j/6/R6+P7JLZI8wv7D+AZE8n5i/nfXbwa8w/+aNS9m4fjHrVi9k2qw5v5Y8gumP8P79RZlp8fNf&#10;MPLNblNA/Te2F0P7Mf7fDvoSehK6/EU6Qi99a2ydvQmPiCYxLpq81Dgqc5KozomlNCscVaI3Pr42&#10;WNoYoGesj/K8GzMLW1wcnAkRM5wf4s6EtGDWVcayVyTP4YFJ/NCQyKlBCZyVLnB5UBy3BsdxTyTQ&#10;EymAZ1IIL0T2KPFSNP+LRjWvxqp43SghxvfFOBWvpmTyYEIGJ8Q4b8z2Y3q0PaOCrKn0tSbH15Yc&#10;H1l7W5DnbUa+lxEl3npU+enREGzAuBhTZqgtWZBmzZoMO5Fl7hyvDeJYf38OFrryTZ49+wqc+KG/&#10;L5eUu7akA10ZpeKsSLJ9w9SMzQ5E4+uIrZklvQX83Yxt+Eo6Ygc9S3pIIfQW3W/uHopLRBJukSoC&#10;kjJILq1m0JTZ1I2byrRV65m6Yg1j5y1ktEifGctWMH7uPGpHjmLB6tU8f9/Mmw/NPBYAPxW2fy7m&#10;9nmzrJulCBSAK5Ln/SORQ+1HgJo/A/7n7P9p/Yn53yjx8pbEDV5LvBTgv3iqxC2eP7vD08d3efjg&#10;nsRDHtx7xIWzF1i/cgVrFi3g6okfeXr1AjeOH2RyfSlbFkziljD5rXPfcfvKca5dOs7VS8L+wvg/&#10;K3JHC/rvOX/2KGdPi+k9dVjAL4ZXfl8xu1rwi+RRgH/42+0c3L9FC/5932zk693rBPyK5l/Djm2r&#10;fpE9G9eK8V29mNTqX0ue/+Ysor9l+4797Pmiq6H2BNWnaD9pJSHg/4t2LUUhwO/cxwQDC3u8A4JJ&#10;SIqnKD+d/iXpDCxPZ0BVOgXFiWTkxpKcHklcYihhEQH4+nng6mKPu6MVwW6WpIU60pAdxMyKWBaX&#10;R7G6KprN/aPZUx3F9/XRnBHje7khSgogWsyuMP+IRF6NFNCL9Hk+KlFArxbQi+EV8N+XfWcHRLE9&#10;z5tZSS6MjHajNMCZBHtz4p2sSXK1J9XTjpIgZ0Ym+bIgL4wN8p3fSrFdnJjJo/klvFpcztvFZbxb&#10;VEbr4ireLynnzcJins8v5O60LH4YFMmWQk8WJtswN8mSVTmuHJRudbQxhSWVIZRHuRHq7oSNtSM6&#10;xtZ01zGlh64VnXuZ09PAiY76NvSwdsbcKxivmGQyqgaQXTuYqtETROYsZM76LYyZu5Ch02bROGe+&#10;MP8axsl6ksTj5mZef3jHy1aRPG3PJATgbU/bo/UpLa1P2kGvgF86wKf4BP7fKwJtIUi8fX2HZpE8&#10;r0XuvHwhPuDFPWH7Bzx6KtLq7XvO/nxHWHUtucXDGTFmjsiTk7x6/ojX92/R3HSJi4oZnTeOy7tW&#10;cGHbYi7tWsX9H/ewa/4ELv34Nbevn+KKSB6F9S+I1tcCX4rgjBjeMz8p4Bfpc1wkzw97+OH73RJ7&#10;tHJHAb4ieZR1O/gVzb/uF/Bv2bRMWF9kjwB/9ry5v5os+l9lfXv1qLrP32jin9PWsbcJX/Yw4itt&#10;GPNld2O+6m5Ch54SvYzo1NtYG1/1NNJq/L/2aL8G/6seOrJfh+79dOmpq4uOiQl9zW0wsLbH2tUF&#10;Ry83XH3c8AlwI0EVjlodgUaKIU22s2W7KDmE6tQAhmYGMD4niIUlYWyuiOBgdTSnBsRxdXASd4er&#10;eSBS57GA/WljEi/HJmq1/PNRkTQNDuSaGM3TwzXsqVOxpDSRyfnxNBaqmFadzcz6PGbXZbG4IZfV&#10;Q/PZMiKP3SOyODI2hzOT87k4NZe7C0t5vrKaFyv783plHc3L6mDFAFg1gLfLa3m7ZiBPJa4trebY&#10;rGJ2jUpjaWkYm+T7vh+fy84hKibmBZIc5KC9j9jAzIbehjbavHXXM9PebP+lvjlfmthp76qy8A4j&#10;IqOI0mGNZNY0MGDiDMYvWsn4BctpmDRdWH8ekxYsZdrSFYyZPoVLd6/zrPU1LyReitF9I2B/K0B/&#10;J4BHwP++7YkUwWPZ/0T2PaP57UPev7nL+9cCzlfXeP9e1tziHXcF+LclBPjiCV5I93j59havhPWb&#10;X9/n3SvpIk+eiHl9z9T535FcNpekwinkVU1h/aaD3L93X7T+zzy6e4JHt37gTdMp3giw7x3bz7kd&#10;q7hxcB33j67j9dntXN0zn7Pbl3Ju/zcsnjKVFfMXcuLYMTG6p0XiHOX8T99z5ewPnDiyh5/k94//&#10;sJ8fROefEOAfFaN75FuF+XdxYP929u3dwh4B/u7da9kp37Nj2wq2blrC5g2LtZJn7eoFf8f6CsY/&#10;wv1vixiAt5+/ycghQHtySrnw7K/dZJCUY/jdjKQDtBeBUgwdBPBKMSiF0E3PFh1zd/qIfu1uaEcH&#10;HXM6itHtoGeqjW7CeJ0NZKB15HckOuoa0VlPQGBgQpe+evTRN8ZQzKCtgyvuHt4EBvoRGexHRnQg&#10;9WlRTBXgrilP4tsBafw8KocbjZncGp8q2juFpqn53Jzan9sza7g8vZJj4wvZNSKHJbUZAnYNdRlJ&#10;lKhjyI8LIzXYm0gPJwLdXfBzd8XV3gZbcxMcJFwtzbXH4P1trfC2NsXNwlD2GeIl234S3nYmeIpn&#10;8XKWbTcbCQd83FzEy/gQ6ulJpKcHiQFi5GNDyZG/OSkxCP8Qb+w9fehn6UV3Yy866TnzlY4ZPczs&#10;0XXwxjEimZj8ahzDEjEX8GfVDmPsfDG5U+czbsEKRs1exMDx0xg4cSoTFy1jnHSA8Qvm8+PF86Lz&#10;W2hufcN7XoAYXQTgrcL+SBG8l1CK4L0UQ9u757x9dIvNCydz58w+eHGZllc3aGl+yKsXD3gsTP32&#10;9WNeCvhfvBed39wksuYmPx7YxWWRL8/uP2Pj1hNEJU8kXDOduLSJ5JUM48Txk7S+e83FSz/z3ZGj&#10;7N9ziE2r97Bp1TdsWLmXCWMWUFM5kknjZrJn6y7xACf4ZvN6zh38liEV9WSklJNTMIbBw1eTlTWG&#10;dE09jUOncfzQ95w6fojvf9zBD8d28uP3Ozh2dDffaw9xbtce7dm7T4AvWn/X7tXs2LFSgL9Sa3QV&#10;rf/J7M5ZMOfXrC8Y/wj39sVBMyby8zeYBRe3ddO1oHNfU3TNxJj1EYbSgt3440VpEl1lW4pAkT9f&#10;djOmq64NfUxd6GHkQGfR+50NrekiZlfXzgOfWA1xWXn4xsRjYOdCTzM7afNWsnbWGry+lh78ta8U&#10;iciADv3M5XOc6WMgoe9Ibx1b+sjP+klHMROWdDW2INDahhB7K8IcZdvGCC8TA9x1xUT3MZD36GHY&#10;T49+fXXo3acfOrr6GBiaYmRogbmRrYQ9xqK39UR765hZoWPpQD8rJ3pZONHb0oVe5q6y7UYvKw/6&#10;2AtgnfzRcfDC0NkHXWc/dCSs/CJx8g/D3ctPwO8ihWCPs6Mdti7OGDu5inQJxdIvGkvlJuyAcGz8&#10;IrDyisHeT4NreBYuUemE5ZQxbO5yCgaPZcLiDRi5BNHXxhO3qGTKhiu3HM6jatQkAfxM6hqnUtQw&#10;XIphDsOnz2XU9DkcPnGcDyJ12njKBzG0r8V43ms6x5Pnos+lAN63PaeVJwL6x3x49Yize3dybPMa&#10;iXXsXL6CPRv3sGXtARbP2cq0xoW8fPxSfIBIofd3eC0sf/zQXnatWk3z/TesXLqZpau/YdDQlcSF&#10;D2BY1Rxu/3yPy+dva/eXDZ1PZv95qPOlG+QsIL18FVk1G0goWkV63W4y6r8mJHsuARnjCEpuIFbd&#10;QG7JDNxD68XjDKVi9F4yK1fjHT4I//D+xKtrGTBkOjPnr2ameJxjx7/n6NED/HBUuf5HOcS5mcOH&#10;NrP3mzUid8Tk7hSDqxzh2bqaLVtWiuRZ+sshzriyCb/R+mMiP8Jeq+1/dY19P8fo1j93UXS7GZZO&#10;gXTrZ6UFvVbqfAT/V11N+bKLKV90Emkj+/sIy/eTtq1jLmtzW/StHbBw9cTZP4TA2ETiMjIITUjQ&#10;PmHMWMBvLAVhZOOBsa2nFJcjxtZuOHgG4R4UTl8jO7r3sadrbyfRw84in1zo1NeFrjrO9NQXgBoK&#10;WE0d0bdxQ0eir5U7XQ0c6SI/62fkir6hE25OfqhjkijOyKQsK5PclBQ08WqSxESGR8fjFxZKcHyc&#10;FGMcJu5e9JK/t4+tKz2kCHrL39Jd5Ed32Tb1UfR3PG4h4Ri6+EgxeAu4vUhOiWXhuGIOLSznzNIK&#10;zi0dyI+LxjAyKxV/O3fsbb2JTkxj6oKFTF20kPKGwThKsRi6BaLrEYqBdxRW/nEY2vnxl95m/FXH&#10;ii7G4gXsfAnWFJAgXSCndjgVIyeSUzeUypETKBoymsFTZjJ28gSunPsRHl/n5g87uHp4Iy0PztKq&#10;vXRBzK3o+jfvH9MqjN8qr9+9usOH5hcc232QNbM2smrefipK5lBUMJNaAfH6lQekAzSLtHkkEugB&#10;iDF+/fAO7548l99t5cefbjJ5/h7mLfiBM4cec+9kC4e3XmfwoE1k16xm6o7LTNl9mfi6BfjlT0E1&#10;cD0Jddvwzl1NWOVOQiu3EVqxkYwx+wkuWYZN/GRia7YR238rruo5mAaPITR3OUnl64nNW0hI0jhC&#10;4kcSnzqOuIRaivMGMmX8LNatWM2PR/aL7NnB4QObOPDNOtH6G0TyrGO7yJ3t2gJYxbbNK35h/ZrR&#10;vzmpJVhvR70sDr+ZZaRjP5EqIl+6CNOa2PoI0NpNbjvolbWAvpsJXwjbK9q+h64pJjYOmNvaYWln&#10;jZO7SIAADwJEVgQEiWwJ9sVHjKyHpwvePu54erni5qo8pcCVwABfkTXeBIf4oVLHkaSKIywsBHd3&#10;X4xM7OnZx4buvR3p3FMKoa+DGEQ7uokp7G5sTz87L/oKwLsJGLtau6Jn6YgqKpbp1VWsrC1jRkYM&#10;k1KCGakJoDrOi8wQF2I8bYgPlu20BErL8imrLsMrxB9rkT6W4j+shLWtnByxcrTF0sEaL/nbktI1&#10;BMXEaB8BaO7ph0tgEIkxoQzMiGJjQzpHx2RydlIOF6cX8fP8ejZNGIyPhwc2Xp7Yyv9irnx+gB+m&#10;bu7o2rvTzcKTnlYh/LWnBx26uPBFd1uRfzbSIZ0lnDAUsnEJly6ZV03BoLEUD59AUlkdmQOGkVs3&#10;iEHDBrJ/90YB/h3O7d3G3ROH+XrVfLauW8Cr10284YHo94e0vBMQC5Bb20TSvHzMN9u/Z970A4wa&#10;tZ+hYw+zfvcdMgtnUDdgOjeuP+B9Swtvm8UrSOHcvneDKzduc/neI47faKZ63DfEZyyhonI9VRXL&#10;iVNPJ6lkEzH1e4gctoXxB28w4cBFFv30gKTR63HKmoVP6RpiGvaQNu470sYcIrh0Pbapcwho2MSo&#10;XQ8on3mcyIIlBKpnE5G2AE3hGsJUs8goXoEmayZRcSNIiKgjO6aSiQOn8c26XZz49iA/HtzNkf1i&#10;cr8R8IvkUc7q7hDQK7JH0fvbt6z4aHQXM2/Rr02ugnUt6B2Txtp+/gPLqNo2BeAK8JW1rpmrSAIX&#10;rbzRmloJhfn/Ij/7oruBaHsTTG3tcXBzxCfQVQDsTHSkO0kCtNREX7I1geSlhFIomrckM5YiAUux&#10;RElONMW5MWSnhZGsDkatCUWdEk1MfBhhousj40PwCfIX5jeka08zuvcSsPe0lCKQbZFg/cwdRJqI&#10;RLEVSeLoTW/pMs425qwdVcXDNeO5NqmQM8NUnBqTzF4xwotLQ5maHcCkzEAa0wMYlRnE0OxghhRF&#10;01AUR2lGKHnqQCqzY6kvSKQuP5YBBXEMFmNcX6ymsiCFgkw1hcLotYU5DCvMYkxWItOzIlhTFs36&#10;/hGsrQ5m9YBw5jdkkCr/h561JV3tHOnn5omdhzthoUE4OThg6+RJP8lpV0Xv97DnT10t+HMva/FC&#10;0mVMRGaZe2LsGoJnTDqaskHkDWokKLUAX3UOMQWV5Nc3UDO0kYPfnefsmbt8d/ACU8fPY/vm7dDy&#10;XAv4ZjGqylGc9yKFWlru0Pb+BaeOnmPS+I3klS4hp2YLJcP2E5szh7zKBWzecYYHL9p4+LqFy/cf&#10;cKf5Hbfft3Hw+n2yR6xm4LwLhBVsIb56CymjNjJh3xUCBq8iY9EZkmYdJ37aAcYevc+Cyy/Y8eoD&#10;i6+9JXjUZszy5hE68lt863dhlS3fO+8sg3beIW/6HgbN2cXWfRf48dgN0fS3GTt6MbGx/YWUGqks&#10;Wkiueir5UYOZVDSavfPX8vXipdK1NvHTEdH+h9uP6x/Yu5W9X29izy6RPbtWsmvHCraL3leA/4n1&#10;Q/LG/UruKJhXZM6gz3caeCS3acEt5lVh8y79LLBwFFaVVqw1tL2UAjDmTx11RYoYY23vTIgwWlyk&#10;rwA8iMrMEGqzghiQEcig9CAGpwYyMMWfAWkB1Kb6Uy/7BwjoarMCqc4JpjwnhBx5j0YVKKAPJDQ6&#10;iIBIP8ISg3Hw96KLaPd+BlY4mFiRHuTD9JJUVg7IZFGNhkmF0aT5mmJp0BMLAZijlQET8iK4NreG&#10;F/NLuT8pjXuTMjk1RMWmkkCWFPoxOcWJ8Spnpst3zyyMZGZFAnPl82bUZTKtLps5g4sYVZTADNm3&#10;YFgey8YWsXp8OcvHlLB0dClzhxUwc2A2s8RkLxqQwvK6RFZXxbKxfzxb5LM2iQFfV5vN4Cw15uZW&#10;mIusi/T3ZU1jHevl9yuEEFytDTEyFsMvZv/PvU34525mdNBxpJNItR6mngJ8D3pbeWLhK0QgkkdT&#10;NZjQ7DKcYlJwiUkjtrCe5EoxhVM2M2DsVrLKZjJh5jZevG0TidMsjP2E129Fqoj2f/HqlgD/Lq0i&#10;fZQbR7bvPEZJzWLicxehKt1IXOFa0ms3EZw+jrVHLjN9615q5iziwrsPnHvzgXlfX8ArYypVsy9T&#10;NucGEQ3foJn8NZOPX2PB9SfMuPiUpY8+MPTHBxRuP8mY8/cZ9XMTRfuOM/DYHbzGb8OqejUmRUtR&#10;zT5J9fKLBGdPITR5AOOmLeHM6dNcPXOK22fPs2fNbkZWTaI6q5GqtPFUJI+lXj2ElQNnsn7ULGYN&#10;HMJ329dy6tstHJcC2LVwIfuWr+Tors3s27GcPTuWisldzq5ta9ih6P1Ny9mwfglFg6b85ujO6EHK&#10;0ZxfTZPZzz6ytZ3tlVsJxbj2METf0hVTe6+PjwxR9unzV/EAfXTN8PLwJD0unFJNCIMzQ5lYEM7s&#10;kkiWVsSyWoCwtlyAIbG8Mo4l5XHCvKKNS2KYWxIl74tiakk0Q7NC5J8MokAdTmpCOEnxoag0EXiF&#10;BtJTjKm+vgnZIT4caizn+pQ8HkzL4M60NO7OL+KW6OtZ5fG4WBljYt4LX+feLKtLomlmFe9mlvBu&#10;chavBPyXx6SwryGWDZXRLC+OZG5uCDOyApglBbCwJJallcksr04XiZTJyofUiWwAAGA3SURBVLp0&#10;Ye5k1jQksWloIvtHqTg9IZ1LM3O4PjeP2wuLuDw1h6ODEzhUn8ShumQODUjl6NBMTo4r4sz8EYwr&#10;ycVK/I6HFOTyIeVcntOfo43pzK+IITPcB3tTK/rpWvPXPpb8oZt0Bj13Ouu70sXQlW7GrnQWyaPj&#10;4IevSnmE4AASyhpwT8jC2CcSn5R8eT2UomHzSS6bhqp4ukiFkWIQJ7NDwHv7Odx98Y5Hr1t53vKB&#10;C3ceMmX5Rq48e8nRy+9onH+ezIp9qIu24RE3haSa5QxcfISJX59l3a2HbHr1lH3NLZx8/4Gt5+9S&#10;MmEzmSO2MHjFafLG72b6nhvMPHiWb+U71t+7z7zbN5n3SNavXjCq6S4j7z8lZd8xCr+7SMPx+5Ru&#10;Ps+EQ8+pnP8TEelTyVAPY8a4pZw9+RO3rv/EjUs/cvvCaa4fP8+K8SuYUb+AwdljqVQPZFj2CNaN&#10;WsGIlAZG5w/gx107+fn7fZzZtp2lVSNZUdfI1/MW8/XaZRzYsYUDu7ewS0C/fesqtmxezroNi6lv&#10;nPnbi9fmKIy/5fOdvSz9WhXAK6Fl917GdOxjjKO3tG4LJy3oO/Q25Mteupja2BEu4MxMCKVG5Mz4&#10;3HDmFoaxuiyC7f1j+UbYcJ8AY/+AJA4MlKhP5ECtAKkmgQM18rOaJHb0T5ICSWJmUaIUQJxUeyL5&#10;6UnaJ3qZWdnTV8cIP3sHFlRkcmliCS+nZvBuSvvFZW8XZNG8upj7q2qkC6hwMOqCsUEvsmKC+HZU&#10;Ke8WVtA2J4V3czW8mpXJ02lF3BiZw/EGNYeHJEjEa9dHhqr4boiG7wancHRIGj+NzuLn8dncmJ7H&#10;wwXFtCzJp3V+Cq2L0mBpFu+XZMOyYp7PyufKiBQuDE3l+vgiHs4fyOuN47m3cxGVyXFYm1pQlJzM&#10;BdHe12ZWc3p8DhsGplKZFIaLuTU6+lbC9FZ00hWmN/Kih4mXgN5DdL4rX+qLwbdwxyM+i7DMCkJz&#10;KvFS52PorTwvU4VzYhbq/hOIK5os4B2GW/QIAlMmEVUwl7zh2xky/wxjVt5g8rY77H8Ee5+95uCb&#10;t+y4+5ay6UfwVs/DLXy0GMlRFDcsY9Lqkyw/KuBcdJDS+fPYcfEM354+y42mJtH7j/j++FluPX7E&#10;kZMXSEgroHHubK43P+d08wM23j/L4qazLHp0k1mPHjDx7lPqTlxn4qWXTDnxiIKpu4jMmUhI1ACm&#10;TFrPAynEphuXBfTnuHH5BE1Xj9N0QcB/6jjXvjvJ/BEzWTx6KROqpzO8YCTDMuuZXjGKVWNn8OP2&#10;bZwX4J/cs5ON0+YzungAM4ZOpiqzP1WptcwbN5sNKxeJzl/Jti2r2LhxJWOnz/utwd0iwB9z7POd&#10;PUxcBfiGH0GvFICYWeUmcmnJLn4R9DN14Itu7SeozK1siAjyIzcmmIbkCCaIXl+UE8oGAf/XylnQ&#10;6miO1ETxQ20Ux+vCOVkXyan6aH6qi+a07DtTF8cJpTBqVawoi2N0dgQ1WdHkiExw9w+hh4EFeuIh&#10;UkRKbRB5cbUxg5bJGlonxfFuaqwWiO9WZfN0RQp3VuSyun8KPoZmWBvaUBAeyLEJAtqF+bxfkEzL&#10;jEQ+zEildUoK72dk8FLi4QTlZpZEnkxS83hSMg8a1dp4OimVl9PSeTcnCxZmwnw1rfMSaF2opmWR&#10;RoAv+5bly7Zy7U8WTRNzuTenghdrR9DyzWzOb1uMrzJptKUp21cs5M2Pu7izZBjnphSxYYCa6kQx&#10;7zZS1IbWdNSzooexOz2NBfhKmIq8E+B/pWdPN5E8ThEpRORUEZhRgm2Ein6uAfR1DcItqYigrMGo&#10;KudiEz4Yh7jx2CZOxjxhCs6FK8mcfY6iVU34jdyLWcU8avdfJXzqBlLm7GbI+uOMW7mXS3eUm1Ue&#10;oTyqpOlJE2fvXePguSO8fneT1pe3eXntPC+unoRnN3j17KJIqCsipe7w7OUdkVJNvGi5zt2317jV&#10;+oAzYqoPP7jFgu9+IE0AmtW4kNj+4wlJryNfZNmWLd/y6OYz7l+/wa2bAvbbIm9unRbwn+bOtdM0&#10;XTrJnZ9P0iSyZ9XM+SydsoIfdl+W9TYG5g5n7YRV/LDxEKe+Ocrp75WTXEc4/u13jBw8RmR2BrGB&#10;eST7lZMSmMugigFsXbORnZu3sXXTZmbPX/4b4I85pjD+nc939jCy08qZTn2Mfll3Esb/opsu3WWQ&#10;PILicPAM0U7i4ODoTGJUFBlR4dSlJNAobD01I5JFuZGsF9O4vSyG/VVxHK2J40x1DOdq2uO8xM/y&#10;+ufqeM7WqDharWG1GMyRKSFStRFECNCVB8x27GuAi7urGMw0Ng5K58IYYe4pybybpubNTJX2Tqp3&#10;azN4tTaVx8tTuTctlxXZkfga9MXRxFzkUSBfjyjm1vR0WhYkwsxIAX48bVM0tEkBtU1S0ToxASbE&#10;806iZWKihIoWKYQ3U5TLluX1jCTez1LD7FTezxPAL8yWAsijbUEBbXMLaZ1dyouppTyYVcfrTTPg&#10;+03MGF6PkZkJGdkant06D+cO8mTbDM7MKGOtAL+/KhRXW0f6GgurC5H0NHWjt7B9D2NPYX1POhu6&#10;0NHAmY5Gzph6R+OnKRDGr/gF+HquoVgEJOOVWEtI1iQpgim4qhbgn7cNa/UaooecxK/+MGGjTuLS&#10;fw/h43/AuXojI/Y8J33MLuwjc9h7/DDv2y7Bm5O0vT5DW/MlmptP8eLlAVpfH+Hp1X1M7J/NlaM7&#10;aHt7g3etN3nx/meevb7Bs/u3ObFvJy9vXZDfuytFcJuHT6/z6vUD7t27RdOt6zx+cI+nD+7S8voJ&#10;za/u8fL5Ne42neT6tSPcuXOSu3fPcvOmxI3z3L55XphfJM/lU1y+cIqL5y8xacISEpPqySuYRXbW&#10;HAozZpEUOZwU9Vg0IusWrz7EvGU7qRkyg/rhK1AlTybEd4hIyxzSNXUsXbqblWvlf5i2jKL+I357&#10;+cId5Z7aX3Yo0ctA9Kb2kX8mdO6rXI6gL2sTAb2FgF9fy/5fdtfXPh1N19AKN3dfYiNiyE9NoTY3&#10;g2F5aUwsTmV+ZRpr6rPZWJ/Jlkq1FICaff1Vwu7JIn1S+FY09LeijffXZ7BNTOX04mTK06Lx8nWm&#10;u25v8Q862DjYUpirplF+f+fwZK6MTxaQpdE8M53mOWm0rsimbUMWLcojQZZLN1iWwpuVBWzpH0aQ&#10;VR8sTfXwcjBjiXSCayJzXohGfz0th5apmbyfmAwC8veTEtpBP166yIQEWSdJqLVXeLZMle4yK0UA&#10;niGRS9u8fNrmC+DnScyW7dlF8p5iXkyv5cGSCbz5dhdfz5+Lr7s3Ns7ubN+2jg/Cjm2Xv+fVoRWi&#10;/WvFDCdRECUa38IGPWMn+lm40Nfckz6mPgJ8D7oaedBBz4VOAvzu5l7oOQdjE5yEY3QKjmJujX3D&#10;0HUPxtQ/EY+kKtLrlxKWOx/n2Gl4JS3GOXIOrtGzUFdsILN+PTmDthCYs15+PhdrrwE4umaTrMkX&#10;cB3mw4dztHIc3p+m7d152lpP0db2HR+aD7Nr3mCmV0q3FDny4fkNml9cpPntJT60vOLct+cojClk&#10;YvV4HpxrYs/GHRzYvot9mzfR/LCJ1/ev8PbBZd49u86LBxelAC5x9/bPPHx4g0ePbwnwL9PUdIl7&#10;D6QYHlzlxu1z/HzlBKd/Ps7Jn39iuzD5/A0HmbH2R+LL5+GbPp2g/3977wEc1blmi966r96bN3OO&#10;A1FCAaGcc84553CUWznnLKEsQJEkgkTOQVAkkzM2NsFgY8AYbGzAJueM8lLz1t/C5x5jz9S7UzP3&#10;zsw9u2rV7t7dUqf1rX+tvf9ABGWu4GdZBYfEOajsOoCuT06gbf1BxFcvhX38TNiFz4KpVwVMfXJh&#10;HlQIZwbo1On8bvg9vc/z3ym+mrEdJtNiiL71gvzjJ+u8I74xld8QY0l6McBcboohbF384eUXAidH&#10;Z5gY6sHCQBummpNhrakMBy1l+BprIM7BCOnuligOdEdhoCuKI9xRGueNijgflEd7IzfIFaEOZrAz&#10;1WPTr44P1FSgSovg4+OCQpJ+RnkyllQxD8yQ4OfZSVT8VJlVGV6eCukmQXze3kQfvz4JAz1U6/Vx&#10;eLstHz/2lCE93Jh2QwUO2urIt7fF9rxkXF1QjcfLq/FsET16Vy4zA8Pv/FT00t70daaivzMNvXMJ&#10;7vtpY4ZYLMOrcvn/CzBAX9+7rhiv15bgzZoKvFhFwq+chsvdzdgxvRYZIWHQYUtla+eKTZs24TV/&#10;aDygKl4/g9ent+HLJdVYWBCCJC8b2JH4hiZO0DZ2hgYtjZqJByZT7SfpOGG8JtWee0VjD2jYBcAq&#10;MB7mgSR6fCZ0mLU0nf1g4hsPp6hSBKR1wDV6BlzCGhCe1IG8ssXYuuMMbt54gssXv8PrZ4PILtjA&#10;zLQcPs7piPVhrtmzDW/fXCXRL2FQeh790m+p6JcxMvwd3g5dxJuHp7Fl7jS0ZGTg8fnTeNt3GwO0&#10;NZ9/dRg9e45iatMahMY0IChyGiqqezBj+ja0zNiIroXbsHvHYbx+/hov6PUf3LmDe7cf4MDBU1iw&#10;aDs2bD2Lz8/cxJ2Hr3Dh8o/Ytmc/dh45hEs/X2UAv4YjZ49j08Hd6DnyGVLrO9B15BwSZm1AzbZz&#10;SO/aD8+qpTDJnAW36kWYceA0lp49h4ZtO9HAIsladhS2WV2wSu+EBYOxfcEcpCzcg/Ke08hcsPf3&#10;iv++x9ey9BxR1TOHiq4pFDWNZOSfpG5IGJH44jSnrqw35gQVUzgxaEni4lGQEoPy5DDUULHrU2NQ&#10;GRfJ5jwGVcnxKI4NQ2awH3JDgohgZAT5IImkTvB24t4V6bQjaf5+SA0MQHZMJNKiwxAb6ovMpDA0&#10;FCWguyoJ25gBzjQl4ObMFLxZmCkjvnRVOolPlRcTRG1MIuFF8IyDdF04RtZHYHhzGh6tLcDe6miU&#10;+9kizsYMfsZGiLC1RoitGSTudsjyd0JJsAsaoz0xLz0My/LjsJKvubo4GauI1cWJWFvG2xWJJGwk&#10;WhMD0BDphRIfBySzJQnSnoJQfS2EmBhB4umFmTX1OHnoKF7T675l046HtBD3L2D42nE8/foTHF85&#10;HTMyQhDjZgl3WxsWiDt0zN2gYUZYUPENXTFew4GK74SJuq5QMHKHllMwjH2jYeIXDctgCUwDYmDk&#10;EQJrXwkS82Yht3QJtpDo167dpw9/TptCvHlKZX6NkYFnwKtX2NJ9CGUx9WjNLMcXKxbizhfrSPyz&#10;VPlvMCK9jIGRHzAkvY7hYSr6wHU8v3wWS8ppFxrb0Uv78bb/Bl68uYeGzo0Iz12GtrXXmTvWwsan&#10;DZEZPfBKX4byucfRue4bpBfPR7RkKoKDs+Hnlw4ru2hYOKciJGUmQ/pCBvKVKJ7FItnxJTYcv4ra&#10;pTsxd+8X2P7dVRy4+gNO/3wN+89/jWUsiMUnv0DRhu0o3XYceVT2wi0H0HbiK8z68gzmfH0aTccO&#10;I3nZGkTOWoWAhtUwTJgJ65KFcJ7ehbytx1C4+TDyVu+HXWb7H3r835zV0bENlBFfTd+Cym8qI74g&#10;/MQp+rIzPGOVRH98LYxVNoSptStiYmKQlxSJptxYzCdpFufFY0NpGraVZ2J7WRp2V6XjUF0Gjtak&#10;4WhtMpGAwyTygWoJSZmIndUkdk0qFhdGoTbGkUVjj+p0H9QXRGBuBUNvXQI+nZaIS80S3GmLpzLT&#10;4tDqiHGvQvGHNtLzr4uTjZSSbmCIXUf7soFhdD1tCn39iwURuN4ait15bpgTbY+WxCC0ZMajLScZ&#10;rVnxaEmPxLTEQNTFiClQnFET5ojaEEdMC3dHW6QPWiO8CU8sSAjAmpwYbC2SYH9FCr5qLsCVWeW4&#10;taQeDze249X+pXh7YT9GrnyGEYY36WNaBxJ/mJ525MfjeP7VThxdOh2Foa6IcLFFqI8f7Oy9YEjC&#10;G9sHyCZJUjJwxjh1OwZeJ0zQdYKSqSc0aHX0PEJh5BNJb55I4sfDNiQLzoE5CI8uQ0XBdNz67jre&#10;9r6kV38E9D7G3Vt3sO/QKWzY9QVOfHMHB3d+hePbj+PnL7/GzVOH8MvJHXz+93iLG8QvGBq6icE+&#10;tk708m+H+PeXfkJLagkWlNXg7ZMb9PF38M35iwiMboWFZycs/ZfD2L0NntEL4RjcAl2PIihbJsPA&#10;LR/Gznlw8quEk1cZnDxKYGCZCnOXXFh6FcEpvBbO0fVwkdQjML8Zc/d/iVUXb2Dt9ftopr1ZfPE8&#10;dv/8HY7f/R6f376Kwz//gs4vzqL+s1NoOXsacy+dxOxvj2H2hc/QduokkpdugW/DKrQeuomI9l2w&#10;yJmJqK5VyNu7BcX72UJMWwDNuGqYxr9PfHFW573z+LpO4SOq+uZQN7DEFD0zKGuLzmqC9OLMjtiP&#10;XtgSo6+U1QwRFhaBnJRY1GYL4sdjRX4EdpTG4kBZLI4y3H7BAPt1QwLONyThgkBjIs41JOIsbx9v&#10;SMb2ylisLotGa5o3pmf6oIvef05VDOaUR2FNXTz2NUpwpjEWP04TU4vEom9eEoYXk/yrSP4NGbIh&#10;giPr46n0MQQJL+bMEcMG1zKQrqRvX+CHkWVR6F0Ui2vt4dib74INaW7YmOWHnQVh+LRKgnON6bgy&#10;IwN3OrLxbG4+Xs3NxZvOAvQuKEJfVylRiP5FBRhalI/h7lyAIfptNz3/0hy+RjEtVi3e7JqJoZPr&#10;MXxhD4aufoG+n05j8Mcv6O8ZFn84hmdf7cL2OXVs3dwRHxCIiOBoWNt4wcjcE1ZuodAwd2eotcMk&#10;El5e2B16fBVzWh17P+i4BdPTR8CKxDeitzd1SUaMpAHRYQXYtWYvLn92DldPXcStHx5i/cYv0DT7&#10;INKn7oZvykaYB3fBIKAFDjHtzAokY2A+3EOykVXeioOnfsC8VbvRuXwH1m49gkvf38Ob11JcOvcK&#10;pbld6Fl9DAvmr0RBKV8rrQE+sQvgHrMW6nbNfF+VMPetgbFXKfS9CqHrlgtt52zou+bBJqAKVr7l&#10;MHUvhKlrPtxCa2HlWUgUQMc6BapmEpi4p8EhKg8GoWnIXfoJus//gq4Ll7Huh3PYduMMeq6exfJv&#10;L6D2yKeoOn4cTedOoe3bU5h16Ut0fnsRNQe+RFBLDxxKVyFq1mH4Tt+C9FWfofrQeRTsOo6S3SdR&#10;/slZ+DWuhk543R+ex//NlVsDzySpso4hrY6JzOsra496fXGGR5BfBnFxS57qP0FDtsByWGgwCtLj&#10;0JATjXm5kVhTFIVtpRHYJc7nV4Ths5oonKmNwdc1MfiqJhonp0bjcEUkW4QothDBmJHqjakSV0zL&#10;CURXfRLm1cRiMbF1WhI+b07Gdy2JuNueiBezktA7Z/R0pMzqrOV+XTKRICO9dF3i6P31aWwB6P35&#10;+OBq+v9ViRhZkUjSRuPBNHdcrPfF0fpwrM90YxG4sxiCcIbFdmNaMp510O/PSsbAPLYk3QzN3ckM&#10;sGnAwmyMLMyClOFY2pUBaTdffzFB/z+8sRIDu2Zg+PgSjHyzGcOXD2LwyqfA5SOQXjmMEe4ffLkb&#10;K1urEe7pBn/vAHj4hMNEEN/aCwa2PlBi0JXXFV0WnAlXTNBxgI5TENRsvaHjGgRjKr5VaDKDWzwi&#10;EspRU9WBg58cxNOb93H2i/NITq1HzewjaF53CwElR6EXtA6Smh/gn3USyg4dsIpYCr/szSRpC/Q8&#10;p8PApxl+uT3wz98K79zNcEpZBcuoBTAP64Rfeg9swxbALrQD9hHNcJPMhFfyPFiEtfL/tEBTKLx1&#10;IklfBLuQOlhQ4W1Dq2HolcfskQd9j3SY+uXAOrgIhm7pMPHMhTELw4QtgpFLPgzYAhi5pELfOR4a&#10;TrFQdE6ESXINKncew5Ifr2DF3StY/OAnVF+6iMzPjqLy7GdovvINGs9/hTbmlqLdx2BV0QbflpWo&#10;PXQJ0z7/EYU7z8B35lpYVnYhZN4eJKw6hKTVu5G+bhfcS97vl9/e+Lu+OhYR1TLiK2sbyUgvBk0I&#10;xRfE/5X84qruRAUjjJmkjw8VtOhTbRAYGoJcofypUZiZHoElORFYTfXfWMwiIMH3l0XgYCkVtzQM&#10;WwuDsDTHD+3pXqhK8kBpig8Kk7xRlRaI5oIodJREY35VFHoaJDg+PRmXZyTj0exMhs0ckjADg4vT&#10;MLQ0GVguZjygpVkjIcnjued9GUj+1XxcnOdfTe8vJoFawVZgES3RghjapSTcm5+Nr2mhNmcHYEWK&#10;PzZkh/M9xuFcUypuz8rBs3k5eM3n9JPwwwsYouexyBh2pcwYIyQ/qPjDS/JYWCXo31RPxe9A32fL&#10;MfTVFox8ewAj3x2C9Lt9JP5+9H+7F9/uXY3GonRYW1nCytUbJgyo+g4+MLD3gaaFKz2+GyYz6Ip+&#10;OirGblA0dIauUyDU7LxJ1lD6+wSYBSbAMTIHlY2LcO7sT3h89xGGe3vx5MkAZi75DEmNnyGo/hu4&#10;VpxHcP1PSGt9AGfJQdglrIdh+DzE1h+FeWQ3PjYugZpbG2xiSZTIdfDJPgS3lL0wCVqPuKnfIKLi&#10;C1jHroCufytMglthHtoGXa8aTHHMgbJdApSsI6HpkAQth2y4RDbDJ6GV9qcUBq45MPGm3fHJp/qn&#10;QsclDcrmMdB2SOdj2bLnWASWQN0pEVOso6FiFgVN+2RMdkrDRNdkWpV6xMxbifS121Cw51PEbTqA&#10;uovfo/6785j23SW0XLqK1vM3UP/5D2g5/Qvqjl5F2d4LyNl2GiGLd8GhZRWsm5bDuXUd4jYcRsqO&#10;o0jffQgueb/tsiDrqyO293tnTjGi8miLwSX6VHtBenERS0eGcbKBKXr4WEEfHykZ4U+KJL/o1mBi&#10;g8jwSORLYlBLzz8rPRqLcmKxokDCFkD4/nhsLJdgLbGA5G5KD0ZRMgNtaijSUyORnRGDrMQI5MZH&#10;oDY3Ds1FkVhaEYu9dRJcmJGO+7NpP+bnYYCqO7g4A0NLkjG8jEq/Ih5YJWY1TsaQIPgaEnRtKt6u&#10;ScLb1WwFVsbyObHAkrjR6UW60jE8n0UwLwFP5qbgTEMMvbs/urL8Zd0oelicR6sicZlFcb8jEy/n&#10;ZlP9szHEIhheQJuzMAfDC4XdodIvzqfil9Be1QA7miE9vADSE6sg/WYHiU+//90eev496L20Bxf2&#10;rUZmXIhsZUSHoCjouviRED7Qsvdk8+9B8rtDnXZH09IbE7X5/Zs4Q8PWC1rO/rCNELMsZ8ImLBX+&#10;6VORUrgQJeVL0DZjJbZvOo4LF98gr3oPMlquwDbvS5hlf4Ww6Q/hkf8d1D16SPwdMIteBb3gbljE&#10;rMJ461ooOEyDfcJGOKdsg37gIgSzlSjs/JHF8yVMQxdgnFkelOzzoOqczxaiHCo2GZAziISCaRQU&#10;SVhlCwnsguth5lNB5c8lwaMwQT8UalbJmGQYy+fGYbxeND+HBJPNE6FgEgMVq3joOCezJZNAxyYe&#10;6sax0LJIhoZdCiZZxULeJhoKdjGYKKYld0mHYVA5Ito2ounMddSfvo7iA5cQs+wYDPK7oBI/E1Pi&#10;58Bp6ja4TdsJ5bTZ8FhIld99Hol7WAg9h6BePQs61XP+uHem2Cj9v+mPr+34lxGxhI9YknPU3gi1&#10;ZwGoGMp6bH4kyK5oiD/LG+LjScb4YKw2Jk7Sg7WdGyLCw5GZHImy9HDUZ4agPScM3fmRLIIwdOWE&#10;Y2ZuOKpSApEn8UeGJBDpiWFIT4hAWkIU0iREQjTSSf68hBCUMVDOSA+UZYC9tD7nWlJxY24OHnUX&#10;4OmiXDzuzuDtFDxZko3HSwpwr0tc3Y3FD9MCcWmqC67WuuBhiz/65kRQpdkiLGLLQAwuEtOBJNLG&#10;pOM5Ff2b6SzKItqs3CAsKWSALU3FofIUnK1NxdW2TNyZk42n89kC0Nv30+YM83VHBBaxJVhZxDBd&#10;jZFdbZAeXQzpF2shPbcLIxf3Yei73Ri4vBMvv92FA6va4WVvChtnFxh5BULF3gNqYmpBe5LdzJWt&#10;pge0zcS5fHt6fBvo2PmS+D7Qp//3SMiDZ0oRYiumY+XBM9h39iZ2n/wFaw9cRt2i48htPwDvgvVI&#10;m/cNspf9gtSFt+BW+iXUgrbCIGoXrc8JWEs2wThqOXTD5mG8TQU0fabDPm4x7cs8mATOgp5bAwux&#10;BCqW6VCwSIS8BVXYJAvyppkM2clQNCbpDYJJ5FioWadR8bNZlOlECt9nCibohUORjykax0HeMApj&#10;dYIxTjcIk4wieTya+wgWOVsBxzT+vQQahLplPP1+DKYYR0GNz9GxZEFYJUDXhq0Jb0/hMVX+78nO&#10;OZjiWQa7zMUo7bkOm7LN+MC7AfJBzBqx7VBJmA6fRbsQfuAkgo4eRcDhPQg8vBsBB3bBc96a94Pt&#10;3/THf28ElnFgoVR0SBMXr8YqiVOXoghGuyTL1J4k/2CSGHSuT7tD8suxGCbqQEXDBJ70r8nxUShO&#10;DcO07FDMLw7Hxuo4EjcJWyvjsSg/HDUSD0j8zJES7Y4kiR+SEwKRmhiCjKQwZLIQshLCkZcUhXze&#10;LkwOQllqAKpS/dGQ4osO2qHVhXHYVBCDjekB2J7mh/0MxsczPHGpIhy3W5PwlLbkVZeYRY1WZ2kK&#10;lZlK3x1Hzx5H4sdjgPffLKKP76ZlYrE8nZ/FokrEtuoILMj3wewMLyzLCeZrROJgpUTW+ewHkv/u&#10;wgI8685DLwPuAItgiMU3sqqUAZvE30niH+ki8VdAenYDVX8zRr7eAny7Gw/O7kR7dQ709LXg5BcC&#10;XUdfqNt4QtfZl3bGC2pmLvT4DLNGTlAUndMsxVybPlC19KBPToA7iZ/WMBPFs5egcVkPTt24jydv&#10;3+KBVIpHb0dwa2gYFx49xY/9g7j4fBif3RhA9+7rSK/fjcD0ddByaYVd9Ep4pfWQ7EthF7cQpmEz&#10;qKhToeNdAA3nTJkqj9GMhIppKhyD6mDmWgpN0wwo60mYOaKhaBqJiUYhUDCPhSoDqhbJr8u9tmUC&#10;izeNFqcYCkbR0HaknQssh7JZLMZoB5Lw4SwcthJiKSKxYIQF/94iBpPNIqBgGEJ7F07ih0PZIGR0&#10;5RWTCLZ+sdCxTYAKb4tljMQqLKo2icwX9ShefAp5S87COKMLSvFtUMqZA4/VRxB66GuEM+QHHjkN&#10;/30nEHXsHML3noJt/vx/fgSW2MR4xL99wiRt61Fro0w1p9rLzuErCdKPzrLwsRh2KC9mXdDHx4pG&#10;+LMci0FOG9qG1vD18UdabLDMs3dNjcUBWoaTzan4tDGBlicE3UUhaEj3QYHEE2lxXggLckKwnxMk&#10;of7IjIlAflwsSuLiURYfi3K2BJWJbD2SwzEjKRRziMXxftic7I8jeSH4qiQU35eH4GFDNPpm0v50&#10;pmJgbgIGOmMxTJWXLhZKLxAHKffSbqKLtxfG4u182iCivysBj5kbrtJCHeuQUPV90J7iivm5YVhd&#10;norNtFwHKsNxqi4G37NAHnRm4tUCWqBF+cDKUoCKL93VQqvTiZHj3ZCeWgbpyRV4e3oThr/ajwt7&#10;NiE0SKxJZQbv+AyYe0TAwCGAgS8IerQ8k02doMBwq0J7I69nSyKJwvCCoWcow2USQvIrEVveiNjK&#10;RhTO6UbVmk3YfvVnHLxxE1f7+nEXQ3gsHcLVJ3dw9qfLeMOieD44jJcshDfDb/F06C1+fvoWO45e&#10;RsfSw4grWQHLkBkw8G6kD69g1iik0mZDnUTXsSuEhk02yZlKxU2EokEsJlLBJ1KZJ5pS0c0kUDaW&#10;UP2jMdEgAhPZEmg7ZsLYswAW/mwxLKjiVO3JLBBBeKHumvaJLPIUWpxkfl4RalOhZByGMRreUDIM&#10;ZaYJx0QtfmZaKAPHFOjaJ0HbRgI1i2iomYcTLBDu5UzCR1sjyzSMs8vGnxiWNcsWwr/nC0gOfgt/&#10;FoBt8xoYF8+DqqQRKmFTf3vh6v0xt2J7f5YFPa8MqQizItgK0guLIwaa/zrNyJh38+ILfChIzwIQ&#10;GKNgAB0DawQGkPxxAajOCcGyWhJneiyONUuwtz4aW6dGYnlpKFoz/VGTGogiSTASg3wR6OAMLzNH&#10;BNm5Ii0kBHmRoahNjEVHZgoWZaVhTWYatqUnY296Ak7lJuJyWSquVSbjTq0ET+jV+2hZ0EL/PiOB&#10;+0QMtydhgMXQP4v+fw4typxMDLSl42lTGu5Py8ZPjWm4VJ+E8w0JuFAXj/N1cbxNhW9Kxtb8IHQl&#10;emBTeQI+b2UQbk3Gt21Jsu7ND+Zl4DXD7cCSfIbnUoxsrqHVmYGRQ7Mx8tkC4POFGCHx+05sxqMT&#10;BzFr6lRoihnm6OldIqmU9n4kfQgMXQLZ/PtSDZ2hwGCrZCr2jjDyDGc49Id9eCI8k7LhnZoLv4x8&#10;BGQXILiwFBE1DYhtakPK9Nkomb0cq/afwblfXuF231vcJ8lvvhnC5UcvcXcQuHzvEZ73iZFV/Rge&#10;eY3Xwy9xb3AI5x4NYc3xG9h9+iG+OPcAW/d8jdq2VQhKrIBXSD6MzAMxRcMReqaBMHBKgpyxIHo8&#10;FPTiMUkzgkUaD13PXOj6FcDEMw+GzllUZrEsUDw0SXZVqrQIr+r07roMwnqOidDj/9F1TOBjYiE6&#10;th4GASR3JP1+LEkfIVtzS0E/gME+iJYqBBN0fTHB0B/yJP5E81DI8TnyfB/yhswPLL5/MIjB/8t8&#10;oBQ+FQr+ZZhES6RE+zXZJQkqLokwCq1672zOH8yyIDb6n9/Mq6OsbyuzOWJQihh6KCO+IDwxRs6A&#10;5CfRxW3ZMSq/vDE+FGAh6JnYISQsFAmSEJRnB2FFTTT2taXiaGsqDtZFY8/UcGwpD8eSglA0Z7B1&#10;kNDikOzhjp5wNTKHj5UliuKiUUnf38AMMC0mGJ18zmK2JGtiA7EjIQjHs6NwrphkLQvHpaogXK8O&#10;wx3+38fVUXhYGYb7tC7XK0LwI/dXqsLwXVkILhQG4HOG6yXRvkjRUUS0ylhU2ulhRaQbNse5Y3ui&#10;C/bkeWJvmS92V/jieFMMfu7KwZOl2XhBvGSr8GpJBgZW0OqszsPguiJgK8Pt7mkY2tcGHKXqn1iG&#10;wTM9eP7VQRzZsBaOVm6YoKAPS48oBKSV0Nt70VMHwS4kAcauobQDTgyLHiSXE7ScAqDnEQLzwBg4&#10;RDPUxibDKyUT7klp8ErNgE96FoLzCxGcW4iQrFLYh2RgkoE3/jzFDf+g7AZ5Wgrr0HIkVC3C9OWH&#10;sXTnORw7dw/X7/XiWe8Ano8M4odXr/D1836cfPiCdukt+ob78HbkJQaGnuPu/Wu4cu4gtnQ34Jt9&#10;6/ElvfKKrZ8gqGYm5MOK8P84JOJPtiS/fQJtUg6sI6uo5pnQsEqkitPba/nRMvlggo4fplCxTTwy&#10;YOiaCgO3ZGjaxcqWIB2r5c6WjVaOZNaxiYKqaQgm6XqzhQmi5+f3YSD+NpTWKAQf6XphnHEwW5YQ&#10;yBmFkvRhJH8kxhuGE9yz1RmvT9vEoCzslaptHJRtQjHZLvL9bgr//Gxq78+kpk/VF2tcfSzmw5fX&#10;HlV4kvwjEvtjeSOS3xBjJ+ljHEkvBp6PVTBlcZjjo0lm+IjKr2lsBR+SPyM9Gg15oVhVk4BDrZn4&#10;uj0T56mgZ2fE42hTHNaUBaMtKxAVkgAkBXggxsUDYaYOyPYORHteJtpyJeiqTMLKGglOLC7Dwz3t&#10;uLWuDF9NE+tR+eHOsmQ83VGK/r01eLkuHw9mRuFxRxR6l6Th+dJU3F+SgKHdlZAeqsObTQXoW1uK&#10;z7M90eWsjiPMCF/lReJGZQoeTsvCrWlJ+H5GNM5U++JCk1juP5WhNh39i1LRz8yA5emQrskE1mSR&#10;9DkY2FgI7KgG9k7HIIk/cmwhBujzn36xCV/vWY8Adw8oKRlCVcsRhrZB8IzLgZoTf3TCQixuEJCM&#10;yRaemMSAK0fl13UPgUVQPFxoiTyTsxBWWIac5jZIptYy3FYhuqISkeXVCCmqhntyPsz8JQzA0fin&#10;Kbb4p8kUKh1vfKTiwlbaA4pTPDFeyR3/XcEZE6ik5u5pSCxdhLL5RzF7z02sPfkQ3z8cxMDgAN4O&#10;Pod08CVuXz+DPetY5Ffm4e2dTdi4KA97vz2A+ounobliBfxPf4P0r6+i9sQVTN38GSS1i+EVV0e7&#10;lARF/RCZJ5+g7QstmzgYuaURJL0rSW8TAy1benjLMIzX8aDa0/qZhzErRDLTRLC1EF4/iIrvJyP/&#10;FD5P0TQYY/h55MQavnohzEHBmKQfyFYgCOOMAmStgaJBIJT02Eqw9VBgISlZMRdYhMEo6L1lgv6l&#10;mdTE9r7qy2vZjYyq/Sh+tTdC4cdMEgPOBcRtMd0Iw+87iOL4cKIuJmvayNaDSkqNwNT8aCytkuD4&#10;jFRcbk3EtfZY/DIvCd/MlOCT+hjMYqAsTQxGengAUoP8keDjgRl5aVjbVo2tnZXYv6gYtz6dhd7z&#10;8yD9dhb6zzag/8tqDF+ZjqFfGC7vtOPtrXa8OlmMvlPlkH5VB5yuw8DRKnrvOlqRKvyygJmgyBkP&#10;8nzxtDQYT6cGoa81BsNzJbREMXjNonnSGop704PxmPdfdqfiDRW+f0UmFT6bhBfIwfCaXIbaQgz2&#10;lGFwRy0GdvM9HJoJHKfN+aoH1w6uR150GFRUtDFGzZzB0BNTbIJh7psAE9cw2gEvmHhF085kwNiX&#10;Yc41GJpOgdDzioCLJJtBtAB+tDYxJHthewdyZkxHTEkpUqrrEFc6FQmV1ciaVo+c6VUMsUXwTYuC&#10;obsD7YEh/sQs9oGiORSpluNV3TB2iis+VnbGhwouhBs+UnSX7ccoU3k1PGBkG4nYjBrMmL8Ou/Z/&#10;iltff47rBzfgk3m12LdzM47cewDHFT1wO3cFnpd/huS7O5h59R5Ov35Ga/UE/QzYD9mKfPHVJew+&#10;dA479pxDx9ytSMiYDjtX2hwS2cEjjciAFkmuTDXXZsDVoy2SnblhcBVZQBzTMotkFqKXNwgmmUNk&#10;j6swW0zSZw4g+eX1wnibyk9MZKFNZFEIyBmyKNgqyBuzpbCOe/9Mzr88d6bYGAB+M1uyeUTtW9Ex&#10;bZyYKU1R768QtkesezVWcRRi1gUBQXqZFXpXDMLzT1QxgJWjM6JiwlCYGonOUgl2TU/DqY40nJ+V&#10;gnMz0/BpSwbWVIo+NJEoiwlCToAPqml1Gmh1asN9UR/ugrUV0Xh0aC6GvpwPnCHJzjQDpxoxcr4Z&#10;Iz/OhvSnuXj7w2y8OVyKpxvTMLS9BM+W0JPPjJDNZvyKrcDzRn+8qA/Eo0pfPOd+iCFY2iUBxHTh&#10;3bEYYOjtXRCNV/Nj0Ls4EX3L0jC8IgPSldmyfvhDa3MxsC4XfRsL0Eu179tagcGdTZDum43+XXMw&#10;fHglft67FmVJsTDWNZBNlTJeyw7j9FwZ0PxIeF8Yu4RA08obxl6xsIukh08pIXGLoWLtDcvQJDjG&#10;ZsBZkoGQwhKkT2tCyZyZyJCtiFiB+LIygmG3tJTHqlA8sxpVncS8qaiYW4WpnU2o6WyTLSyRUFSM&#10;kLRMZgqSX00UBFttFWMWggVJb4lxKvb4WMmG2cwSE1WdMG6yA/480QofTbSEuoYDzEzcEBSRi7J5&#10;WzH71C20XHmG2q9vY+b52zj9agQP3g7hKZ7hUS9zw/MX+PH2Xdx+9BQv3/Tj1es+vH7ei3s3H+Kn&#10;Sz/j+qX7+OrID1jW9QmSMhrg7JEKI8toEjsC40jwsST6eL1gGYE/pMr/ScsT8roBUDEKp+entyfh&#10;5XRpd/gceRJejuo/4R3h5dgCTKTijyIQ5pFNf+WvgOD0O3r/y9v78+PruqdIfx2OKCsCQoTdXzE6&#10;+4IRIda7NcQEJWMWgREhpiExlBXAOBaAkaU7/ELCkZQUicq8aCyrT8EnVP/dTfHYQ4uxuioKM/MD&#10;GXj96e3DkRvgjYoQf3QkRGNJahyWxvlje1YwPisNw6cF3jhZ4oXTJZ640hKDH2Yn4N6iTLxYRj8+&#10;JwEPp0fgWVMUBluTMDidBK6NxkBtBPqnhuBNYzAJHw3pkkRgKW3QsngMLGM4Xkx71B2FNwuj0bdI&#10;gr7lyfTy6RhemUHSZwHr8jBEKzW4vgD9GwowuKkMw1tr0b+9BQN7uzH46WZc7VmOmvQMmJrZQ1nD&#10;DPKatvzBXDBe9MHRdeQP7QoDR39MET0y7QNh5J8Ix5gsBGSWyWAbmQK7qGS4JKQhtLAIue3NKOho&#10;QV4LiVxVQtUvRHxJGeKKC5FWU4SKObUkfSVRRuKXoXJuJabOrUNyRQ7qF7SjenYz6jtnoGn+DNTM&#10;bEJ1RyPSywvgFSXOLDlDUccU8urmtLMmFChbjFVxpmXywsfq3hjLYhg7xZEtlgv+YTKPa/jhAy36&#10;ceMYuIbSgpXPxoqew9i2/wI+PXMTp87dxg/XXuDOvVcYGJCiv68XL57cx5O7P2Pg+UPwDl48vocb&#10;N3/E6S+/xMHjX2LnV99j2envkLlgPcIKWhAYVw1zhwSosZVQoveXN6Lyk/wK9PYCgvhyeoFQNA7D&#10;FKsYIopWMQJKZmwJaJX0fIt+G2j//86P/+vGKvnNiiiqFj4jYjSWOMszitFem3/FFENCkH8Uo3Pv&#10;jGL8JBbEBBOMYyZQ0bWCg5cvwuNCkZMZitbKOHTVxWNZI4ndGIPZVcFoyBfn7kNRKglFSZgfyv08&#10;MTs6HDty03C8IA0Xy9JxrTwdvxQn4HahBDcLYvFzYTTulcfhaU0SXtUn4U1dAnprJXhTE4eX1dF4&#10;SeL3N0sgXUCPvix9tJPb6mTal0QMrEqQYXhVEo+LDnBpAMk+KEBr078uE30biPVUe9qb4fVFGGGo&#10;lW6oxMjWJrzeMRv39q3EkZULkBETA0tbD2hZeGOykTsmUeknEpP0nDBJx44+2E7WIU2dYXaypReM&#10;fONhTk/vRJX3TMpnkC2EfXQqiZ8K74xMkr4N1d3zULd4AXKbGxFdXIDEykpangpk1peiuG0qptKS&#10;CNVvWtSM8ln1ULcxpm+2gFt4FIqaGtE4n1hYizoWSF1nBRrmV6GeBVI3txoNcxoxbV4rGue2o6Cm&#10;GjGpOTCjJVPTccV4tgwfKdG2ionEpphT8GxpmRzxMYvgY2UnfKzowCxnS9jIWgslLR84euciu2Q+&#10;OpfsRc+uEzj4+Te48ssdtgqvcef5E1x5eBNnbl7C9Ts38Zwtwu1X/Tj9/Dl2376NLecv4ttbD3Ht&#10;5hN8+9Mt7DrxJeZs2Ivg9FZmFFEEIvBGkuAMuFR7cWZosmmYDMosEk3nlPc7o/3PrYgitj9aA0tB&#10;0xiKmoYyiD48v0KRxxU0jDFJTZBeqL+4wksw1Anln8DQKy9vgfETzfDBOD0oUGFs3HwQHh+FhMRQ&#10;ZKcHoaogFC0VUegQql8Vi+kFkahOCUBtUjCaaY9mJoVjTowflsZ4Y2dqME7kRONifjy+z4vDtbwY&#10;/FIYgzvlsbg/NQb3pkbgYXUEntdFoY9kH5qdjBEGVCwXndZSaVd4n8C6ZNkaWGIQy/B6En5DGqQb&#10;s4hsSNdnkdzZfDwbQyT9wIYs9G/MI4owuLGU94Xa1+DVtibc/mQu9i9rR1CAL6y8gmHqGQEtKz8o&#10;GYphhM6yUVWKhJKeIxRkHdEcZNOHqFp7Qt3eFwZeoUQI3BNz4J6UC8uweFqdVPhm5SCxtpaYivI5&#10;s1G9YD7Sauvo6euRVl9DVNDjl6NsVi3J34Bq2hxfSQQmaGniQyVV+nx16Ns5kOR1aFo4lYSvRANb&#10;hqaFFZi2sBzNi6Zi+sJKzOBjbYvriAa0LKxBG4tizqLpmLNiDqYtaEJhXQGSstNg5eSNiZr8DVVN&#10;8KGaGT6abIMJqg6ybisf8Pf+SMUCH0+xw1h1R3zA/Z9UrDFOmwVv5AVDt3j4Jk5FTuNizFqzH+t2&#10;n8W2z65g3YnLWMzAvJwkP/rt97h68y6+v3ULZ+5cw6dPbmDDuYvwTW2iokdB3zUN6rZxLAJ/wo/k&#10;92dQ5nvS94WSSRCo7n/l6yj+FWtgic3mvVUPLSPr36rqm0JAzcCMezPZgBXRmW2U/CYy1ZebYsxm&#10;k6D1maBsQphjjJwpPp5oio/G80sbLy6GGUHX3BFeYaGITYxEWkooKnNj0FqUgHkl8VhaGSPrq9NN&#10;Ms8vicXC0jgsLovDqvIobCqPwCeloThYFoaTfN75qhhcqgjFDzXh+GVGNB7PobXpSsPI4kzaGfpz&#10;cSZmpSC7BIMb4kn0eJI+AVhPmyNWM9zA2xuTqeAp78DnbyR6WARbcrl/Vwgb89G3qQSvtpTjGfF8&#10;Vy2ub67BRSr+t6f3w5gk03Qi8X3ioWsbAGV9R6o8lVCPloKKr0Cro2zgzJaA9w15XMzTaUnL40hi&#10;+ATDxC+CNicFjnHpsI9JgmtiKqLLKxBVWobg3DxkNU2nh19IwjcgvbEBmU3VyJ5RgdJZ1SR+HRq7&#10;ZqCaCp5ZWQT/mAiESOJRMb0eM7oaSfAaTO8iuhliu6aipbsarYunkvxVvF+BGd3lPFbBY9wvKcOM&#10;ZXWYsXwGOlZMx+wljZjLApi7sA2da+ahZU0bGpbVo7ClCKEpCbDwZLDUY2ugaox/FCP06Ag+VDfA&#10;B3QFH5ITH2la4c8skD8zZH+o5on/S9Ee/13JAR8a+UPOPgo20cXIqunGnOX7sfGzS1h64hLaPjuH&#10;9uMXkNCyAormEZAzCqTS0/+rM5gzkAviK/DYFPNQ2p6A3/l6wd13NP7Xbfwnv1nn1vIvNVI9C3vo&#10;0sNqGFpDTZ9ByMAKsrG6bAmE8iuomxBUeVUzkt8EY5WN2FzqsUkUV3rFBS99/KOcHv5Bgc83dYJz&#10;ZBx8osIQHRuEEir53NJErCN21WdhX0MWPpmaiB3VEnxCS7R/WgKOzUiQTQlyYVo8rs9Iwr3WdDzq&#10;yMTTWRl42ZlBj56B/kXp9O6pMksj7IuUSi+VdWAjoUV3ZrHO1To+ti6FRUC1X8/HN7JINrJYxFje&#10;zST75pxR9OQAG7IxuL0Iz7eV4PGWCjzYVIdLSytweEEV7l4+gW/Ofwkn3xBYuYZT9WOgZ+cn64Iw&#10;SceaZBfkd4Q8rY6CvoOM/ComLlA2oe83HO13r2lL5XcPhYlPJGzDEmAbkSDz+a6JaYifWgv/nDz4&#10;ZuciurIKMRVliCktRnxlGZLrpiK3tQlFs2egqqsFjcvbMWN1G5qWNaBpaTWal03FLJJ91sJqtHdT&#10;2ZdUoW0pCb+kEq283bKIZO/msa5qtHXXonVRHVr4t63L69HB/exlTSSkwDS2ANPQuWoUC4iFK5uw&#10;gIWxYEUbutbMxpIN8zBvxUxUNVcgITcF1p7uzDgGGEsHMEbRHB8p2kBOzR3jVV0wboozJqh7Yrw6&#10;84QKyaw8in9ScGKLIk4EhEHfJRF6zhKMZdAdp+OBMVoM6ZpuzBy0j1pesote2vT45hH/xuvc/rqJ&#10;1aL/9h9bhJVLtYxtoGlkDR0WgIG1E9XbHuosgim6ZrJ54FV0LKGkaSEj/3gVI/pCPYwRUw+Ki10T&#10;qQRyBvjHCQb4v+V08SHzgYWrF/xCg5GaLAa1UN2LJdhO4h9uzsORpjR81pSMEzMScaYlCd+0JeF7&#10;4lZ7Mp7PTsebzmz0zs1G31zakXm0JQtJ+sUMpST+MAMqVtC7U/Fl5BdYx9aA1ka6gcQnILBeTBmS&#10;CVDdRzbl0bsXUO3p47cUEyUY6inF854y3O+pwrXVVfh6YRE+nVuKn49tRv/D6zh89AgsnHxhZBcM&#10;K89Y6DsGQtWU9oakFwUgyD9J14a2x27U6pi6QsfeD4Yku4ZYot4hgE15MIy8wmHsHQ4XofpRDL6x&#10;SWwBkpBU1wSfrFwZ+X2yshGUR/tR14CYymrEVtUgubER8TVTEVnOgqgpR/nCdtQsmYX6JW1oWdqA&#10;jiV1aBdYVMMCqGYxjGI2ST9zUSXaF1fyeYQolBVNmC2ITsxdTrVfKdCAOavrZehcW4f5a+uxcE0D&#10;unm/e1UNlqytxeJ1tVi0phpL1tdh2cbpWLahFau2dmLV5i50r+zEtHa2VAU5cPENgIaxpWx+pjGK&#10;uhRGE2YIa4yhdfpIyRZ/Zmb4069gsfxJHBNQscMHzBIfqjhhDItDTtsbZmH/Tiub/7rZxHds+9sX&#10;MA0qlGqbWsPQxolNvAv0LO1ZCJbQEDMmsyXQEBO+6ljIxuqOJ7HHCUwW5/r1GXL1MWYCPeEEY/x5&#10;ghH+kb7/nyZoYbK2GZw8/JGRGIfpOTFYXZeK/S05+HRaMk41SfB1QwwuEmJpoBuNUXgwPRpv2uIw&#10;NIvknkvSziV5O0n2efTxXSkYWpQo66A2tJT7ZUm0O0L5SXrRfVks7yk8PW3NMFUeG3OBzQyuW0ox&#10;sq0C0u0MrjsqgW2VPFaF1z2VuLO2EldXTsXJeSU4SU9894vNkD64hP6nv2Dz1i1wD4iGjoUfLD3j&#10;YOgSCjVzT0wR0wGKfvYkv+iIJiDIr2BgDzULd+g4+vO5wTB2D4OVfyxMvCNh4BYCfbcgOMelEalw&#10;IPlDi8oQX10Hv5x8eKRmwi0lA37ZhYipakBwcRXi6pqR1NQBn4IKuGQUIql5NjI65iNvfhcqVs5B&#10;xapWTF3bgfr1szF9w1y0rJuNWWtnY+6adsxf00o008ZMR+fq6Zi3qgXzV/LYqmZC3BcqT/KvbuBz&#10;RrFgTRMWrZ1OwpPg65qxdO0MLN8wA6t7mrFq4wwZNmxtx5qNLVi2ugmr17di7YZ2rORrrds0Fxu3&#10;LsS6nm6s3rgYbXPakJGfDydPXyiLGT5k09lo42Ml0Q3elLetGaTt8CHxEQO12H/AQtD3Lf4t6cnR&#10;d3T9t90YHg7/7QuZh1X8lfwCehZ2siLQMbPDZN3RmRrEtCSTxCIRamIkFzMA1X+sOM8/QZCfLQF9&#10;/8dyZmwJTIjRi2GWVg7ITxQDUpKwvj4NB0n8k01x+KYhGt/VR+JafRTucf9qWjSGm6Mx0hwLaVsC&#10;pLNI7rn08vNYCPNJ9i4x+EQMVeReNnCFyk6MrCTW0N7Q9mBtFoY35GG4pxjYWg7pJzWQ7mnAyCd1&#10;GNhahZfrS/B0bQEeryvB/fW1+GltI37YPBcPTm/H4J2zkL7+EU/uX0b3onlw8wuRLQBh5hEDQ9dI&#10;aFmLq5BuUKOtUSf5FWl7VAzp843YCpiwGBhwNe18oG3jAwOnIBi7hcLGPw6mXhG0PcHQp3d2kaTD&#10;Ky0Hnuk5SGqYgaiKaqp+HhwliXBKSEZ4+VT45NDTF1QivqENXrmVMAhJgUFoOhzTq5DcsRSVazeg&#10;YNlS5K9aisKelcjvWY7SLStQs2MlGrctQwvRsXUJZhFzNi9C56b5mLthNgnegUUslMXrOqji7TIs&#10;2zgLK0jcVZsWkLQLsGr9QiwX2LAQKzbOx0oeW7NxHtZu7OTjc7C2ZxaJ3oH1Pe3YwP3GTW3YxOLY&#10;tKkFmza3EzPRs3kOH+vEOv5dz5ZF2L5rFTbxPXUys5RW5cPLnwWhrg35ydoYP4kFMVEbpsGV75+2&#10;PPyOpv8+m7Wk4zd9961jm9/qWjqT9A7Qt3SALv2/GKsr5uYRszQI4otFJsQc+wpqprLTnuOU313w&#10;UjDGGHlCBF85Ex4zwRgxsktOC9ZWdihOlWBueQo21SXiUGMcTpH4F+pjcK0hAQ8aJHjTFI+RaTGQ&#10;UvlH2kj+mRJIGWxHOkl0MdikKxnD3SkYXiQgwm66DFiSxhYgA8Oiv82qPAytpdJvLAe210K6uxH4&#10;pBZ9m8tJ+iI8WZWNh6szcX91LlGFB1vm4OXJ7Ri6eQbDz78D+n7C43vfYtbM6fDwC4KhA+2OWyQs&#10;/ZKgbR9Au+MOLUtPGfEnMwAq6jIXmdHfM9wK4muIoYe0OeI5k9kqiH74lr4xsA1JoN8Ph55nEBU/&#10;BQG5JUiom4by+UuQXD8D7lR9Q/9g2McmwDergC1BCS1OC3xzq2AanoHJblHQ9k+FTWIF/POno3zx&#10;VrR+cgQdh45hzufHMOv4ASw99zlWfXsC66+cwdafvsGOG99hz+3v8fnjGzj409fo+Xwnth7ZjF0H&#10;12PLti5s2TIPmzd3kqydJPA8EnUuST4Xq0naVZvnYQ2PCazl4+sFtszGRmLDZhJ+cyshyN6KLZvb&#10;sKWHe2IrC2Eb728Vx3taeL8V27a0E+I5bdi8aTq272jG9u0zeWw+C2Q5HJP+B/9kHPzbPvb/nptV&#10;fEfZ376wgJaV94iYmUGVpFeSDVkUMJVhMr2+spoFlNTNZao/gWl/nKohLRCDL4k+XsEUE0U/H3p/&#10;caHrY/r+ifI6cHNwRlVaFOYVhWNbbQyOkvRn6+Px07Q0PJxOb0/fDxbESFMU0BKFkQ4WwpwE2h16&#10;+gVinCy9fvc7iNOZ3Rl/xdBikn5pHgaXF2BwdSlVfyoGe6aib2MFXqwrxnOq/KsN+SR/Hp6ty8FL&#10;evy+rS3o378CIxeP4+3jHzDw/AcM9V7Hje9PoXVaDYJCo6FPv65tH0KfLqF9iYKmtQ90qegaIsyS&#10;9GJ6cDUWgbA/k3lMzdILWlZe0BR98K29ZcMPVS3coOngA7uwRLglZEHPK5gkD4djQjrDbT3y2+Yj&#10;vqKJ/j8N+h5B8EjK5vMyEUy1d03Ih1lIGlRdIjHBPBDafukwji+GWXIx7DKLMWfPPlx6+RTXeh/j&#10;Pl7iubQfz94O4Z50ANeH+3B5eACfv36O3b/8hMM/XsKzkdfoG36EwTc38PD2KVy7sg8Xz23CmS/X&#10;4OixbuzaOw/bdnZRpRfL8MmupTLs2LkE27Z1EwtJ2E5s3TKLJO7AFmJrD0m8aTYxE9v/ig58wv0n&#10;3O8g4T/Z2IodzAg7mBV2bZ6OnSyK+d0zf3OeXkBw8R0t/9dstpL2gPffhI5jxIiYkkTMzCDG7Ipz&#10;/OJU5+jYXR4Ttoeef5L66JkfYXvExa7RC11iDK8h7Y640mtKO2SOiSwEXRUDZIdHYkFZLrY0ZGN/&#10;fYpsYtcfW1Jxd0YSnjQl4EVjIt40p6K/Ix19c5IYchMwMD8ZQwvEMMNMIoe38zHYnY/+RXkyDCwq&#10;wMDiAvQvLcLgimKqfiked6Xh5uwYPF2Sil4qfN/qHPStITYUYWBHI/qOLMXgNwchvUmlv/8jRh7/&#10;BDy8ihvfHEdz7VT4B8XQ4/vCwDkaJp4JMPOUQN+eloXFoEuCK2pbQs3QHlpUfAMbb6iT+Nokvba4&#10;be7KYnDCFNESGI0uRyTO8yuau0DV3hsajn6jA84DJfBLL0FceZOM/NZBEhZIEuwjU+FO0rsnFMPE&#10;PxlKtiFQto+AvG0YzGNLYRCVB4uEElgmFsIlqxTLj32BW2/f4iaJfo+Efzz0Cs+GXuAJIfr23+17&#10;jRv3b8rWvB0Zvov+lxfw6tGneP3kIF493Y3XT/eg9/ke9D07jKe/HMXdKwdw5cwWnDm6Ep/t7caR&#10;XQvw6f5uYhEO7+vCvk/mYte2mdi5rR07d7RjB/3/zu2zsJ3qvmMLj2+diR2bmkfBFkAUwa6eOQT3&#10;bBWmdfx2ihABwcF3dPxfu9nEt2i8/2ZMg0ulo8T/FWJpy9HbgvwquhYy6yOIr6xlIbuYJc75C/KP&#10;dnBj6FUwwxhlJnz6fjkeV5LXhI2ROaZmpqGrthRr6wuxe1ohPp1egBMshvN12filMQ93m/Nxr43W&#10;pCMDT2dn4lVnLnrnkdxzi1gMxeidX4TehUR3Lt4szkD/smxZ9+KBldnoJ8llfXDWZOHlqgw8X5mO&#10;l7Q4vevy0LutHH0HWjF0dh1Grn0B6dMfIX15EyPPruHty2u48e3n6GiuR3R8MrSFrbEOhKl3Eskv&#10;oXePgKETFdveH5r09VMMbKFpRktj6QFd2hxNqruxa5CsG4MYd6tKuyOIP1mApNfzCIaGk5+M+Bq0&#10;UbrOYsaFCNl0gvaRKXCT5MAxOh1WIUncZ8PYLwG67mLQiDcmWQZhskMkdIMzoBGYAt2ITJjEF8Ai&#10;qRiWSQUIKm/AJ5e+p9IP49YICwC9eDD8Gk9H3uDl8Cu8GnyEp8/5WaU3MdR/ES+fHsPr54fw5vkB&#10;9D4j6Un+/if70fvoIPoeH0b/46N48/AYXt4/hqd3juDe9X344cJmnDu1GqeOL8WxgwtwcPccHNo3&#10;D/t2dWLvjnnYva0TO2mHPqEd2sPC2LuVe9qc3by/mxlgD1uA6KL2909XMsi2aLyj4f++zUbS3vP+&#10;G9O2DR4RJJ+sI+bmERAtwehtcVxZi7ZHbZT8SpqWmChsz7vObmOUTfGRkrhcbslUb4kPJ7FVUDbG&#10;+Mn6UOP/sWOQFkv+VGZmojUvHwuLCrC2vBAbGIS21uVgd1MOjjTn4viMLHzemI6Tjak4WZ+ML6el&#10;4pv2LNyYl4bnixPRT3IPrU6n1RED1QVSMLiWas/9s5XJeE7iv9pYiBc7qvH6eCdGftgF6b2vMPzo&#10;Cn/k7/kjfyfbP7x5ERvWLkViGonn4AdNq0AYeabA0I2K7xRF4ofR+wfK1rvSEEpuZAcxoF/Hxh36&#10;Dl7QtaPPJ7ENSX5dqryGhSvURRFYuWGKnadsanANZz8YeIayoCKhYuMBLdcAmPrHyGAXkcpCSGUY&#10;joS2SzhbiBCM0XfFR3ouGGfqCVWPaGixIDT8EqETnA69sBwYRRfAXFIMq8QCRNe34sjN27g6NITv&#10;Xz3Go967eN1/E339P+HpkzMYwXkMDZ7Cm1eH0fvqIPpfHcAgyT/0dB8GHosC2IdXT/bi5cM9eHZv&#10;D57e3Ufsx+M7B/Ho9gE8vX8ETx4cxc3ru3Dp/Boc2ENPv7GBLUEnPt23EAd2dOIwW4h9VP59W9uI&#10;Vuyn5++c3/Y7lSd63tHuP8ZmnTDT9/03aRpYIJWR/B3Zhd8XVkdFh1mAflessiKIr6xlxduWDL4m&#10;sq4OY2U9PZkBGHbHK5phrLIFPmYBfKRCqJpjjAqP0yIpqhhCnYFZU517DV3o6hnA0sIUAR4OSA5x&#10;R1m8t2yQS3u6H2YkuKG7KAKbp2XgzOw03OqMw9NuCV4vkdDqSDC8Mg4gRtYkYWB1Cl6uSCP5s/Bi&#10;QyleHmwHLm3G25vHMfzzCfTeOI03P3+JVzeIn7/Gs5uX8OXnR5BfVA4DkluNSqvjmgB9twRoO0RA&#10;heqr7xAEI+dAhlhXTNa3go61K329E329K4xcAtgy+MHEJRAWHqEsFH8GX0eo2bIInHxhFhQLF0kW&#10;nOMzYRkcBzVHH8ibs9XwEH33E2AXngbLgESo2wRiilUAptgEYay+Cz7Wc5ZBzZF2yzse6s7MHB4S&#10;aHomQ4MwCM6BaWQBTCOyYSPJQ3zjTBz+/ipeDIhl/VncAxfR33sCg32fYeDNARmGXh8iDgMsAunL&#10;wxh5Tvvz6DhePjqBF49O4sXDU8RpPJfhFJ7x2LOHn+PhnUO4d2svbv+8Hdd/WsucsIiKX4+e1WU4&#10;+8US3Ly6C99+uRanjnbjxMGFSK3q+J3KC469o9t/vI3qf/D9N6xpHUDvby4jvlhCVJBf3J+ia0XS&#10;iwtd5rICmEwPrKBhSu9viInKBpBXNiKMCf7dZFoi0VFKEH+KGYOxGW2SBdR07KBl7EgP7UTSOcPa&#10;0R0+Pt5IjAhCaUIYKmO80ZoWjFmZIWhLDcTy8mQcbErB+ZYYXO2Ixd158egnyYdXJWNwWRyGVooO&#10;a+l4vYZ2qKcCQ7ubMXxyBXBlD0a+54//7W70X9iJoYs7MXKZx346gv4bZ3Dh8wMoLiqFIS2MhnUI&#10;tFwk0KXia9qHYbKZN1U9kMQOoaoHYLKhHVRNHGFA66JN9dawcpVBy8odurZe0CHhte25d/GFvk8o&#10;dDyDYR4SB6/UArgl5sAuOhV2MamwCKGV8oqEJclv5ivGuvrTHvlCxcIfY3Wc8LGOIz7WdYKiCTOC&#10;Hd+HJQvPOQbarnHQdIuHjhfJH5gBs9Bs6PslwzIyD3ZRaWjunov7r25gEL/gde/XGOg/TaU/jqG+&#10;0xjsPcOgy1bvHQZfn8fA66tsBW6g7+V14gb6X4jbxItrGHj1E7PAZTy5fxaP75/C/du0QLd3E7tw&#10;4+oWXP12PfYxP21cWYzPDrRj49blf6Dy7Qff0es/9mYT3x73/pu3jGp8O4W+Vfh7QXzRtUFZW0xO&#10;aykj/KjlYXEQCoSchjgDxDwgzgYRyswCsrNCbCUmqo9iEotGVd+RYVF4ZjvZ8qK2Lu5wdXVGfIgP&#10;qlLC0JwdhpmZgZiZ5ouZqX6Ylx2OnfWp+IJh+ExzAr5ticYPLSF4tCAKfSuT6PVT8YY+/+nqfLzc&#10;Vgvp592QfrcD0h/2YfjCFgycWQ2cXgbp6cWQnl2K4a9Xofcim/BjW1FRXAATayqsdYCMWHoe8Zhi&#10;GwwdpxCYuIVDz8FfpvoGYk1bUzF5lCOUWAQGYo4dW3dMNraFqqkDrZIbNGiDlMwdoWDlRDAbiEJw&#10;C4RbQjYyp8+CpHoG3JPyYOgTDV2XCOaJOKjTYk0288VkU1+MJ+nH645inK5YIC8USiS+mn0olG35&#10;PIbuKc5hUHOLZCsQD33/VBj4Z8AiPBfW4clwiYrBvhNH8KyPAbfvKgaIof4b3NMC9d3Bm77beM3b&#10;r3t/xpteFsibW3j9knhxGy+f3WEeuIcXj+8Qt6j6N/Do3g94+uB74hIe3PoSv/x4DPdvfo7b1w/h&#10;+vc7cPz4Kvhk/ZYzMpBL72j1n2ezju/oeP+DGAcUShXUSHxVY5LaFOp6DHv88WUtAjFZzxKTWBzy&#10;whZpUtWZBRRFUQg7pG0lKwhFHRuI8cCKLBo1EwfZerc6Fnb00A4wsneBjas7goK8ZFOTtOSFYHF5&#10;OFaUhWBRvh/m5wRgS3UCzswtxdezi/BVewZuLynBrXmpeCEmqqLS963Nx6v15einF5WeXgPp1d2Q&#10;XtsL6fkeSL9YipFj8zD0eScGTszCyFddGDi1HGfWzkZ5Sjq0DFygYu5PqxMDfRJqoqEbFIw9SEhP&#10;2hc3aFl7y/rx6DDYqomLWIYOUNC3gRqDrIaVByYZiHV2XaBl5wND2h45U0faGmcoshjkWODGAdFw&#10;TcyHR7JYISUF6o5BUGdrImyODrPEFCq+gr475HRcMEHHmcSnz9d2ZmsQzJYgAKrWwZjMAlEw94Oq&#10;QxgLNBpTnMKh4R5LCySBnm8yjALToe0RA2Pmh5q58xl53wBDDzHUe5vq/xB9A09J/Cck+130Eb2v&#10;79H/3x3Fizt49ewmif8LXjz5maS/jqcPr+HZg2t4fPdHPLrzA57c/R6P713Gw9sXcffnr5DVtPT3&#10;tkbS3v6ORv95N1btvvc/mGx1RSUD2UUtDQN7GSbrWUOZUBJ5gEUg1rMVEORXIPkF8ZVFoZi6QNvc&#10;laSxhTotg66FMwytnaBHddSzcYa5qxs8fNwhifBCNT3+EhJ9fX0SuvNCMTcjEBvKJDgyLRtXlzfi&#10;h+5KXOpIx53uHDxdkoUBkv4N0be5EoN7WyE9uRzSixsh/WY11X8hpAc7MLxvOvoOTsPgkSYMH27C&#10;k211+HxuOQqjI6CsZiYj3RQSTMclCkpmPlAy9ZHNdT9J35kKTxKaukHTghaHhaDKVlBBTyxd6gwN&#10;S3fZ2R017sfqWNKvu8sWfHOJy2KYpVo7+sIyLBGJtTOR37YEnsklULDwhCKLSt7IjeQP4N+Kcage&#10;mKAtphp3ofI7Y4Iuvysz8X+DaIX4OFuEiYZinK8v1Eh+VecIaLrHyKDBQtB2Zx5wiWYRxMPMPxTb&#10;Du3DEJ5jeOAhFf8Rlf7pKHrFSie3SHiqP/evXpDwz0n4pzfw/Ml1PHn44zuQ7MRjKv7De1fwgMR/&#10;cPcyWpdu+YOzNR1739Hmv8Zml9Chzhbg5vsfVM8jQyqnQvVnuFUWSk5iiyucysL/E0o6AgzCJL0g&#10;vwIJoWpkD30bTxiy+demtzeydYMJrYKRvQd9tA9M3bxg6eoCT19X5KdFobUkBTPz47G8MgvzsyVY&#10;nB2Nwy1FOL+wBj8uq8O9tXV4sLyEYTYf/RuLMby1HEM7aiDd3wLpp50Y+XQuRg6wCPY2YWRvPUb2&#10;1QH7p0K6pxwDPfl4vqYYX88vR7I3iT1FH/K0GVNIMDWqrJKRNxRJMiVDMbOAI4vCTjYgRdnASda9&#10;QUsMSDGkBTSwxUR+NnkWvratN61LGPQYdiezCEx8oxBXPg1RpfXwTCmAllsIlG28GVztMIH/R07f&#10;CfJsaZRNGIYtA2SLSsjUnuSfwCKU02OrY+RJ4gdCzoDvw5CFId4PQ7cybZkis4GipR80nKn8Qv2d&#10;IqHEgKztSRvl5o9UWrgfr52nx7+DQZK/t/8RXr55TOI/wqvXd/HqFUn/ipbo5W28IPlfUPGfU/Gf&#10;Pr6Bxw9/Iumv4tGDy3hw/xLu372E6s6Nv1d4ckNw5B1d/uttlrEdJgwrN97/4IZ+hdJxKqaYoGoG&#10;eY1RlZ8kencKayOUXteGewZhFsMUQxvoWrvCVMxERv+rbmgFQ+7NnL1h5UUP7ewBU3d32LiT/N7u&#10;iIsIQFFiJGaX5mHx1GJ0FaZiVVkS9k3Pw6XF1bizqgYv1lWjl/ZmYGMpRraT1LtJ8F11GNpVi5Gd&#10;dZAK7KoC9lQAu8v4WBmPlWBkSwGeryvBgeZM+NuI07PMHnr05FRVFRMqPW3HZBJfUc8VE7TsMFGb&#10;xNe2lZFfQdeex8UMavT6tDiThe2h+svxM6pZuMHCl8RjJjD0CJPNmCzmx/dKLpBdqBKnLsfyb8bx&#10;78cz54zTsafFYUgWik97JQaACLUX+wlUfgVRfMbeLBB32YiwXwtAwdgLCuKcPyH2Sha0QFZB3PtD&#10;1T6AucEBkrR4XDl/CM9+PoHBJ99COnSPBfCA3v4+ntDOvHx5l4S/i2f09s+ecf/0Lp7Q2z969DOJ&#10;f52k/wl3bl9B9vRVv1d4ckFw4h09/utv1tHNcvRxJ9//IkxDp0rltB1k3RnkGGAF8RUYYkUrMIW+&#10;XixON1nfUnYWx9LDDyYkuQ5/HHVDSxjausLGOwDOIZFwCgmHW0govEJDEBQagMgwf0T4uSItzAdN&#10;OfGYU5KInW1F+G5lI26vqMXL1SR7D0m+nhZnLVV/UymkO0SnNRJ8uwAL4pMiDG/Lw9CWHIz05OBt&#10;T67sIteNlXlYUR4JawMtKGvSqpGAk4TialCRNUlufTECa3To4a8Q82PKicwiWjK2aApiL0DiK/Cz&#10;CvWfzAxg7hMlO3dvIuu4FkrCh8kuVhl4RGCKpSfV3gFjtaxlrYkCrZSqmTf/zvN/hFuxZwsgzwKc&#10;RAsk1F9GfO7FfVEQv0LRyEtWHMrcq5L4U8zdmJ3MUFmcgJ9OrMSd4wvx6MxK3l6DHWva8d25Q+gX&#10;Hr/3GV68fIQnzxhoX93DYxbDo8fXcP/BVZy7dA7RFYv/yMOfFBx4R4f/MzdW/db3vxgBbZcEqSC/&#10;gPD64qqnUHtlPXOoGpP8No4wdXGHhZs3A64ddCxtYeXuDTtvP1i6e8EpIBj+cfHwjQhDSFQwQkK9&#10;EBzoiNgwZ2RHuWNlbTrOLarBnWXVeL20CsNLSfCVJLvou7M2VzbkcHhTBoa3ZAHbsoGt6ZBuSh0d&#10;pSUGs6zPwMt1mfhmcQoqoy1hrKkKbZJMhQorr2WL8WqWkNMU71eMvBIjsKjKulR6klueZJcRn1ZO&#10;nJ0SpFfUJoHFfV1r5gEbjKe1m8jnKpu5QM81WNZfX6b+TuJ8PYlq6orxtDtyeqOrJAryK1Ht1ana&#10;v57RkZ3V0eHjLAp5UZB6Yh1dZ9le2C/RSojbYi/ui79XNvCEMm+Li2yW1kZYP68U94/PxsujjXhx&#10;rBkPv1iAk9tnIkfiAStTVTg62yBeEo3FS+fg5Jd7cefBBcxas/UP1F2gfeu7n/3v268bv5TyP/qy&#10;LKIa36pY+I7Ia5oy0IozOuZQM7aBlrk9Pb44k+MGcycP6FP5DW1cYOnmBwffENh6+cPexxdewQEI&#10;jQpCaLg3ohh405MCUZkTidoUX8xN8cDZ9mw8W1WNN8vLMUivD3r2obV5GFifjcFNmYAg+6ZEQoKR&#10;TUkshlTuSf6eJBI/DQdaYxFopwMtTV1o6DKj0M4oaNljopoNYQ0VenANE3eoi775hk5svexo2Wjd&#10;xEU8El10VxaDVP5aDMQEFoPAWIblscw/CgaO0LDyhoa1t2zE1kTam/EspPHC6og9MUGM8jJwhTp9&#10;uxxbmbHa9qOkZ1HIUfkn6rIVIsknEHIy8jvLhkMq6DoxRzEj6DFv6FP12TqoGrlAU8cYiSFu+G5H&#10;G14fqMfw/hIMHajAi301+GXrVPyyowFXtjVg9/JizG6IQkLaX0Zckpt/9/uNor383c/89+2f297Z&#10;oF1/9AWaBhVLVc1cR9RNbKjyjiS/AwnvDFMGW3FWR8vMDvq2LjB39YWpA32yowtcvTwQFOyLlKQI&#10;ZKZGIj3BH1MLxPjeKKyvS8aSZBfszfPBL3My8XJJPnqXZWFgJdV9fZpsSSHphiSSPJlIlBF+SICk&#10;H1gnwe1FiejO8oa9vhbU2CopU+kVZaS3xjgVKra6yCX20DR1l3VZ0DKjIhs7Qc3EUXZGSsPUiVbI&#10;Vkb6X4k/UZCe+WYcW7oxJP44Zh4lthgaFl4yKBo4YwKLawJfS7Ye7juIJUIFmbWsA/kcN4zXZAYg&#10;xHHx+ARZgdBG0kqNZ4ieyMKT416ee2G9JtE2if+tyKJS0zODjbE2jq1owJODrejfW8G8U4DB3YV4&#10;vasEjzbl4/GmQpxaUjqSXd7yh+oufsP/4+3Mv3azTZgZYRPf8eKPvliLv1RL9ZxCR7RJfjH4Rew1&#10;TGyhSZg5ucPWwxs2Lq6wc7KHr587EhPCUJKfhLK8OJSmBqAu1Q9Ly6KwUyxEVxyIg7nuuDojGo/m&#10;SjC0kiq/NoHkJ/E3CsLzfo9Q+WRALDK3Og5vVifjUmcySgNsYKqlBxVmE3lN+mf6ejkNEpikl9cU&#10;+cSeXtkT+jY+0DRzZmvlwIIlQc1piwzo6YW1oeL/lfTEeBJ/rLhIx9ZhiokbwzJVmFAxcZWp/0Ra&#10;JhnZhdKzCEZv8/WZJWTEp2UZo27D1sIWE2TEZ6GQ3BPYwkzU5mvomLMQBPhaYtIrFsAEFuBEQkHX&#10;BFYmWtjUloln+xvxZmcBendk4/X2HLzanotji0pH4nKn/7GV4W8lfrN3P9/ft3+LzVrM8vbe6i2/&#10;wjpm+lsD1+gRFX0LWguL0bBrYw9LR2cS34nE94SvjwtCgz3QPDULrcUxaMsKwsIsf/QUh+BoTTQO&#10;Ffri0yI3XG0Jx8MFcbI1tIbWiAXlEmhvEmUqD6q+dH0sBldG4+nqdOyqiUCIlS60NfSp7FRTLReS&#10;91fim9M62EOV9kaFew1TZ+YQVyq/K/fC9lBltUluXSuZ2k8UNkeo/rvbyoaO0KSX17TygZKRM9VZ&#10;DFl0ZCilfaGl+hXjmQ0m6PA2rY2Yv0fD0pfK7YKPmTHGalgz/JL8WrRdDN6iEOU1+Tpioitx5kfL&#10;SXbmR442SNnIHeOnGMDEVBPLmlNwf189erenMdQnY9vc4hGftNbffe8y8DcRv827n+nv27/nxi/c&#10;g+ry1e9+hHcwj6iW6jqGjVi7MIA5u8DF0x2BoYFwdnOEi60JmgoT0FWTiYUFEViR44/DtTE43RiD&#10;o0UeuNAQhFvz4vB4sQQDJD82UPl74un1aXk2SvB2A4nPgvhhQQqa4lxga6hHm2MMeZJ1vFBWLTuS&#10;iwQm+RW0bWjBfGBk588WyZ2Ed5ddg9CzdmchOGAyFV+czlRlUBVQEQNUjJgDRPdkMTSRnl7LxhdK&#10;PD5BDFYX5/xpReRIdIGJ/P8TtEShMCOwCMRjGhY+/D8kMUkv7JAg/njxHL6nSTw2SUMUphPvu0NO&#10;ixC3J5tgsoo+rI31sH5mGjYsbh6Jzmv+ZwIqMfrde7z7Of6+/e/YrCVtulSc3yxb+jvENLx1DE8f&#10;sfXwgrGlFQwMDJAcEYRZxSmYnxWM7aVh+Lw2AmdqAnCq1BnPFifhycJovFoWi6HVsQy8MRii1x9a&#10;HQ8p8WZFCo63JCPVxxn6+mZQpWWYqGFG9WUw1SQJaTHk1UlOEk2DFsVUjKl1CIShGKHFcKpu4gRd&#10;kt/cLRjW3tF/XSxCLPQsRmEpiWIwd5MRX9vWn7c9qMq0NCS3AlsPOXE69D3iC0zSYzEZuUHNzItk&#10;F8fo87XE/J2juUEQX0xrOFG2kLSwZlYM48YwtPMesY+p+ePv7h3Edyy+63df+9+3/2ibdUy7po2k&#10;vfuPfry/heVfat66BiWPVKTGY01xNI43JOJKWzIuVPniwaxojNDK9C+JwsjKGIysiWWYpa9fEYWB&#10;1Um43ZWOZTkh8LazhJgWUV4ER0FAEkxenFcXxJfBDpPYAmiae8PUOQQ6DLhTjGlhRJcFC3cYOQbK&#10;JpGVEV6ovLELIXy8A60H8wAJr0Pia1n7Mnw68nWEj6fHl5GewVUEXBaabE/I8ZhYMnSKsQcft6fa&#10;22AMrdBYFuRY0QnQyAParkkj5n+p/8Pv5Ldo7xbf5buv9e/bf7bNOrF1Cn3oDP6Y13//4/4ef0mp&#10;lTYW5EuPd2SN9IrJZLuCMbIqGn1rwokovFyRgK+bY1Eb7gALIwMSjQTXd5GRTlx1FuflJ5FwkzR5&#10;X53kJCYxYGqae8GQRNe0IuktBaF9oe8ULJuJQZBezLcziQUkFnoWUGI2UDf3hC6Jr2PjP0r6vxKf&#10;gVVGfLYCwq9z/yuUDV2hZf+XER2PdKnJe6uC/Au4Lr4j8V29+9r+vv1X3OxS2j+wievItI5vP/4H&#10;JPhn4ZXc8jY1t0Gal1UmDQ2KGTG19R5Rt/SWnU0Rqiuv8S480t/Lq1OJBfm1HaFCMurY+ME9IgNe&#10;MZmyLgnadr6w8IqRdVqbJEIqrcioXRklv7IhFd/MA7p2ASySQB53hLKJN9RsI0Y0XRJH9H1ypSYh&#10;lVLLmBl/+F7/Ocg+c0JHpvgO3n0df9/+T9+sUzvlrOLaY6h+S60lHT/9EXH+M8Ba0v6T7DPEz4wW&#10;n+ndx/v79vftX7cJK2ArmeVtHddeKMsR8R3HWCB3/4h8/x6QvRZfU+a/+R5k7+Xv9uR/cvtv/+3/&#10;A7Md1Sk7VWUiAAAAAElFTkSuQmCC"/>
  <p:tag name="ISPRING_PRESENTERDATA_0" val="S2VsbHkgTWFydGlu|Q291cnNlIE5hcnJhdG9y||aHR0cHM6Ly9tYW5hZ2VtZW50c3R1ZHlndWlkZS5jb20vcG9ydGFsL2NvdXJzZXM=|ezFBRkE5RjM1LUE0NDUtNDczQS1CMjRGLTg2MjI2NjkyQTQyQX0=||SVNQUklOR19QUkVTRU5URVJfUEhPVE9fMA==|MA==|||"/>
  <p:tag name="FLASHSPRING_PRESENTATION_REFERENCES" val=""/>
  <p:tag name="ISPRING_PRESENTATION_COURSE_TITLE" val="Facing-Interview-for-Success"/>
  <p:tag name="ISPRING_PLAYERS_CUSTOMIZATION_2" val="UEsDBBQAAgAIABFEbE42YVgCRwMAAOEJAAAUAAAAdW5pdmVyc2FsL3BsYXllci54bWytVl1P2zAUfS4S/yHyO3FLxwYoATEktIcxIXVse6vc5DbxmtiZ7RC6X78b5zukbEir1Cq5vuf4fhxf17t+ThPnCZTmUvhk4c6JAyKQIReRTx6/3p2ck+ur4yMvS9gelMNDn+SClwCWECcEHSieGQQ/MBP7pGdwkZk4meJScbP3yXKO3O1Oyzk5Ppqhi9A+iY3JLiktisLlGhEi0jLJSxLtBjKlmQINwoCiVRjEabCX5u9o/KZSULPPQPeQmXn7xjVJy/Gs+YCkWLpSRfR0Pl/QH/efV0EMKTvhQhsmAiAOVnJmS7lhwe5ehnkCurTNvCrIFRhTBmFtM89c8sW5cLQKfFI5rFPQmkWg3UREhLZ+DWdDUGEa65qJcC3YE49Ymdta1162RR2JjqUyQW5q9A72G8lUuG7tPX+PTkTsbROm45pPD3Kx/DteJ2P91uX7ZCw2o3yTcB3jUh/SWaeToMNdvdTW2Mr2sZHtXclEHAW/cq4gtK/f2hMwX5Bqw1bmNk5XFwEu4NMdC4xU+1uEoXRr2bitUtxKKa4FtRxuu/uqoyBNtltgJlfQlGrmPfEQ5BemlO3XlVE5eHRkrLF0CPZolXLdpK4hXmzS5OwfelP6jVrzU7/WGQv4H435hERtTbgI4fmOo4+BFGtqAItd2lyTJW65ZxeTzjdp7zANTN1JwKZgIo5hKgI8+yEzjHZ2eggKiml0CXI1wvYWDoJjHsUJfs0kw3j1IE3K1G6SobdwEJzIYDcBbc0HgRslC8xQ51mGA+Bl8V6utx2h45aMdNmK0aMT49ALcm1kyn9bpQ/mpLm0kn7l9B4fOYc+Degm4y3kw/w1xGgSDOJq5sL2NQKcC08citWA56S2uhkO8YlZXz6NBnxpeihnTDOdS8M6qyzjOQ4mzyqv5hzn2cgnhC3LE3PbT2h4eVjoKOHpe2OK6zueVVms+G9wCh6Wfw0WSyy1E0Opd5+8P1/2GFCLOBkH21vToR23UjR1cF1q36pf247mhqq1UsnskKS8uhcVppoHH1GOkZK5CEcCsA2r6XWC8/hGAXMS2GJGi1M8HjLzyTt8qHO+OLvoUv6wuGiwNq6HauMqljdcR3XAnfxofZDaRLx6ruHjH1BLAwQUAAIACAAYlTVQJ0JvYUwFAAAvFAAAHQAAAHVuaXZlcnNhbC9jb21tb25fbWVzc2FnZXMubG5nrVj/bts2EP6/QN+BEFBgA7q0HdCiGBIXtMzYQmTJFemk3TAIjMTYWijR1Q8n3l97mj3YnmRHSnbstIEkt0BsRLTuuyPv++5Inn64TyVai7xIVHZmvTl5bSGRRSpOssWZNWfnv7y3UFHyLOZSZeLMypSFPgyePzuVPFtUfCHg/+fPEDpNRVHAYzHQTw/PKInPrNkwHGL7ImR+iGezcDhnzPdCFw+Jaw2GPLo9fdW8/oS17U9n2Pscuv7YD4fO2BrYKl3xbINctVA//fru/f2bt+9+7gVDp9h1D4GQQXr7ugOQxwLfDQGNuKFHPjFroL/72flz5joe0TFUeSGQf/2XiMpkLYp+OLOAXFoD/d1qNw8C4rGQus6IhA4NPZ+ZVXEJIyNr8FlVaMnXApUKrRNxh8qlAD6USS5QIZPY/BApGMgq0eZs5E+x44UBoSxwbOb4njWgKs83Lw0sr8qlysFdgeKk4NdSxMYnMM/8vspFAa55CcxE8FcuE3hTpTzJTtpdX3muj0eGblNCKR7DMrPdpADpAP4uKZfwWyzUS3Bxl0nFY3STCwD0KeKrlUyi+s2ErnId4UzyTWsUAb5yvDHQ3ndpSLzRdsQakCxGo5zryfZECTAlAQDkvBD5EbahYb0xR1jKfggTZzxx4cN0CJNksZTwKfvGMSPAhJnI2qyAqSQAjlN65QcjvWjgCnG04kVxp/L4gKX7+WwDdjzbByHYbA+caYwtMPAjgSqY56DHdjCIEht+N7qCqQIBQ2bKgpZUWhUlyCZdSVEKE22ip8IjQ6lrcaNAX1Lwdc198G7E1kpzF889exIO2a6YurzKomVHOxDnN/Wxr4YKaLLP+daYGrRw6H+C6gJl0e9j4V9YA/+ij8VnQmGRCW2z8fClM8YmS1D3tkVpW/QirmuM3CAeRWCn2bROVFXAiF4SKE0mI0U/L5R8nAOJHex+o7TWgMAEQ4gFlH0IIY/bxQSF3iYjLaePc+f38Bw7Lhl9TToOnMpUibiUSk8A/PJ4zbNIAOMirhO7gdfiJDavae6bSL5Uyd+Il029f9G0Cm9EPr046RnaQXd5Qha8LEW6Kttc74V/TBRa50+G0GXqx/mnNvFw4PhPJinlmzpJXTJTJGkl6zb03fnZRdY3R61BfOdKdc/Wj46E1v2GwK5Fd0jYaMjuVhPtduj4ui3Gorud452DzaxuXtDdnOxGdbf2/AbAU+hYDDqBNTaRU9jvpNCKuttewqwPwr/UXaO7/RUZUodB67kS10VStno2eu7cZI2cj++uexvXg47DHOZCyB4ALppNYYFkkkL8cQfM+ZRsV6BuFAczuVKVjI38ZXJrmgWsbZWKr7fEN7lKzajkxZb+da/68D1R1JMLaqezHpuqnYI752dPwMdniRIcwF7Gxp6tN0C2VrvsaATy0UvhMrrdP4GOUl5GS2jMN6rK4o5A9TlsRM4xgDVzpoLn0fK/f/7tiPEoknoUNaO/9QLROzuoo2QH9oenSlH82RtEz2SHQesDoLgvW4EYHh4GYB66WDVn4q1dczK24cgJPGwFcIDVP+S8yetml6oUhk7a/YJoGhJgxrA9mYKuYF865Rm8pjFoWcWbcaUZDRroA7hlle3PAzi+NQJtFoYlpRSI3HMtqz6oUxxcQAE2BzIdZ34L1ZspJYs+KCatWjWl6GX3+Oajc34fIB630KOXGlaAObMQj0bmXghigsP+bb13iOG0GTUXRFItVFcwe4I96BaP8ESclH0BA0J2tz36RsPcHriK6wu6DrXFNOhtLYZyVz8/FLv11/1691SYq73TV3s3ff8DUEsDBBQAAgAIABiVNVAVHmAbowAAAH8BAAAuAAAAdW5pdmVyc2FsL3BsYXliYWNrX2FuZF9uYXZpZ2F0aW9uX3NldHRpbmdzLnhtbHWQQQqDMBBF957CGwhdh0DXpUWoFxhxlECSCZlR8PZNRG1p02Xe+z/DjGIUMX5iXdW1glnoKRBFS5xRNe93tgwLXr1xIIZ8woK850omNyxRaCMyetmUHsFyyv/wY3hrYT0/4iNeMOVCZxzqS6mwmVzysJhpY90aUI8R04AvmHPoobd4w7UniMPjDOwb/9W5mzabHd5pQB0iuSCq+UBVutdx9BdQSwMEFAACAAgAGJU1UFzlWuAUBQAAbBsAACcAAAB1bml2ZXJzYWwvZmxhc2hfcHVibGlzaGluZ19zZXR0aW5ncy54bWzlWd1yGjcUvucpNNvJZQAndmN7AA/GS82Ev7LrJJ5OhxG7glWtlbYrLQ656tP0wfokPUJ4AYNtkRhP2ozHY6M95ztH5+fT0VI5+xwzNCWppIJXnYNi2UGEByKkfFJ1rvzm62MHSYV5iJngpOpw4aCzWqGSZCNGZeQRpUBUIoDh8jRRVSdSKjktlW5vb4tUJql+KlimAF8WAxGXkpRIwhVJSwnDM/ijZgmRzgLBAgB+Y8EXarVCAaGKQeqIMGME0RA851RvCrMmwzJySkZshIObSSoyHjYEEylKJ6Oq81OzrH/uZAzUBY0J1zGRNVjUy+oUhyHVXmDm0S8ERYROInD3oHzooFsaqqjqvC2/0TggX9rEmaObzWON0xAQBa4WBmKicIgVNh+NxZSMSQrpILKm0owA6NraiqQin1W+YJbCGccxDXx4gnSsqs6FPxy4TXfgdhvu8GrQNq5aa/gtv+1a6Xjt1oU77PZ81xte+p32zkq++8nfQWlXz6zh+wPXc7u+Oxiet3o7atg7tdRxO/VWe0edj+651/J3tdStd3ZV6V/2unY6l9d9d9Budd8P/V6v7bf6S615Da9Ua6W0XvgVaBCRpavlraIsHnFMGZDNvRqXRAFdMZxOiC+aFLpxjJkkDvojIZNfM8yomukOBVa7ISSpy4QEaqC7r+rojnKWcAYQHIOWzHv76CRv7XfHa1svGevLbW31spKTXT8SSryw9wflo9z9k8PH3X/A0QpWCgcRkJi646DVlTspqjVxoOgUGJLc2+Y4Y8zLkkSkakljq4u5Ew/AVMaCr2Vef0YjwcI8YiQekbCLY7JC/d4N5U2QPHDQGGqUQSx7CeHIwxyOG6ogvkEOILORVFTNj5nmQrqeUswQ4MF5SFDH24h3EOFUrhVlnlpN8UHtt65QRP5uwm2WHhT1GAUrujWs5N0Yas1G8CMZSaqIlajIWIhmIkOM3oAvAkFVZDH8FxG0enShcSri+SocrwrJuetTSm5JeGZj6BpMxBlowlmeMKKMhT8z+gWNyFikgEvwFE5+WKfS4Bd3Ak6wlEtQfOfjK3MAtLoX7qdXeoM4nGI4THcDhxYgcaL2gY9h71yACcYERHMFAiIT4EySeX5CGs7FbLZZ/PqM5A0JKX+mxKzhSxpnDD8nfB6QFeg9Zn8/VvDM1IBN4p/0wNpshKfzntd9PIeGbqeQEoMJDwIgU8ozYgsYYI4EZzOEAzjPpWaQKRWZhBXDFQZafpWDRhUqdO7qBDgfjKUhSW3Qygdv3h4e/fzu+OS0WPrnr79fP6q0mHH6DGtrZshpPDoZW2vem8Kf0Htg2rXTujfzPqH04ORrrberm49MwdaaW2Zha937E7G14sZc/ITmI9Pxhm5TpLHmm3Ajn9svShbqLe10veG3PrT86y0A81bYnGwqJT11bR/C5sPo9zqDeW590LhEkK6rtu+d2tBDVwAHqyACfhnrtwU2Og24tQBHLy71VlZ0Bm0EodQ+WAFCLq241M5st2cj1XtvIzUwc2R/ZYa0cgGGgYk53GAcYDSGQTZ8MYL/Frq1as9nZuq9Mdh/g4W++SpoaGxPLERwGkRQiXur3h/jqNhnjv7HYf++X5N4hKAYbn82vXEJY7+NXAdzPCH6NZWnsnD2S6avknD5fNH+W8+k53Za5732xQ9Ad99pBM2n/NXz2rvm/B3o+pcz+klMOY0hrPrKmX+jUzs6LFdK2x8VCoC2/g1ZrfAvUEsDBBQAAgAIABiVNVDWtTOHZAMAAKoMAAAhAAAAdW5pdmVyc2FsL2ZsYXNoX3NraW5fc2V0dGluZ3MueG1slVfbbuIwEH3vV6Dscwu0q16kEKmlrFRtt622iHdDBrBw7Mh26PL3O74kcSApgIWEZ+Z4bsdjEasN5b0tSEUFH0XXUXLR68WLQkrgegpZzoiGHicZjCKqckn56vLhUnvFMOo7e8GE/AStUa2MpJT1aDqK5oXWgl8tBNd46BUXMiMsSn78sp+4by2PoQTGeCpmSRZQuxkM7gZPz6dAvI/Bzc/h7bgLsBBZTvjuVazE1ZwsNispCp4eDW29y0EyyjfGwcPdeHLXZcmo0i9Y4UZMk3uzToPkEpQCE9LtxKyjKEbmwKrs7edETO3q++z3YFuqqLawx6FZXbCcrGCvyAOzuu05nn5GVxxAwz99NHMk/A7kWYeLvMjPAkixMgVtYobD+9vnu6MYJkiK1+90gEnIOHKZ3ww6EYrRFNsgZOqoODCry7irlv5nOCRic7elYB+mCXvTwzBkziDRsoC4X+6cTq3F13uh8TJBsiRMoUEoqo0+MMMPUqjymKastvsLX5SngZEX1BYzwYoMxi7ewLApr+3H4yc7V8L4KlkQoIStFwYR1sLa8g3LemAZCGvLT9Otd852hxHsqxyoJMQT8d38vvyoBU5wWxas3JVa4+nVXHMVhOoFpU0mUkgsr6Y0A9O2uG9lLqT+QUwxJ1u6IhpfqT/Gbr6zyai4v6fwVGsnVqypZtDGt4UopMJgUD3z2frCtWgcxL0c6lG/wlL7VJuyuinmtQg7YffHme6Pq8rm9j2Nb8koyojcgJwKwVTU87hRZJ24Z/kQYsY1PqYgX/hSnAriQsPJHoS7hKeaE63JYp1hTKEHU4oSUdXUdba9gbF329ZZXmRzkBMkBIWSkU2Zs1vT1ZrhV88ofEHaBHQoHVKv8ThOaEX4QOApAEQu1uV1cBunyQqmKYMtlFMlENiEuzKLFdK/LV9DL8+/gHDnMNIPoZopzeEUyFvsZxhW4+A9zXHSazJXNrHGRCmnex1KY96XY9JwNfTuBJ5JjZNR31ZB7FWjnKTQ4lMTWd7weu+TJ1t45DSzEwgVuuJMm8ZhmBC5L4tVlgEfyOsQzLNVHVZl2KLpgpg5m1y3Qaxmf8hO8XomSwkQDlgrvAiegN+wmwsi07fKpPEmtKgdGnPEZ9POa5z0Wa7jfiByzanagL/xP0ryH1BLAwQUAAIACAAYlTVQxhBdbQ0FAAD2GgAAJgAAAHVuaXZlcnNhbC9odG1sX3B1Ymxpc2hpbmdfc2V0dGluZ3MueG1s3Vnrbts2FP6fpyA09Gdtp03WJLAdOI48C/VtltI2GAaDlmiLCyVqIuXU/bWn2YPtSXZoOvI1Dt3FKTIEQSL6fN855LlSLl9+jRiakFRQHles40LJQiT2eUDjccW68RpvzywkJI4DzHhMKlbMLXRZPSon2ZBREbpEShAVCGhicZHIihVKmVwUi/f39wUqklR9ylkmgV8UfB4Vk5QIEkuSFhOGp/BHThMirDmDAQH8Rjyew6pHRwiVNVObBxkjiAZgeUzVpjBryohZRS01xP7dOOVZHNQ54ylKx8OK9VOjpH4eZDTTNY1IrI5EVGFRLcsLHARUGYGZS78RFBI6DsHa49KJhe5pIMOK9b70TvGAfHGTZ8au944VT53DIcRyriAiEgdYYv2oNaZkRFLwBhFVmWYESFfWliQl+SrzBb0UTGMcUd+DT5A6qop17Q36dsPu2526Pbjpt7SpxgjP8Vq2EcZtOdf2oNP1bHfQ9NqtvUGe/cXbA7SvZcb0vb7t2h3P7g+unO6eCHOjFhi7XXNae2I+21eu4+2rqVNr7wvpNbsdM0zztmf3W07n48Drdlue01ugZjG8FK3l4mrglyFBeJYuh7cMs2gYY8qg1qzFuCASqhXD6Zh4vEEhG0eYCWKhPxIy/jXDjMqpylAoaneEJDWREF/2VfZVLJVR1oJOE4JhkJJ5bp+e56n94Wxl60WtfbGtrVaW81rXC7nkL2z9cek0N//8ZLf5jxhaxlJiP4QiJh9q0PLKgxRVSOxLOoEKSda2OcoYc7Mk4alclLHlxdyIR2jKIx6veF49oyFnQX5iJBqSoIMjiL9eI7bQCIKSweF1ExIjF8fQXqiEA/VzhMiGQlI5ayuNuXQtpZghaB3Q/whquxsH7Ic4FStRmPtS1XS/+luHSyJ+1+erlx4VdRkFLSoXjOTtCILLRPAzGQoqiZEoz1iApjxDjN6BLRxBGGQR/BcStNyr0Cjl0WyVYSGRmJk+oeSeBJcmim5BRZQBEnp3wojUGv7M6Dc0JCOeAi/BE+j0sE6F5i/sRZxgIRak+MHGN7riO51r+8sbtUEcTDB0z/3IIeZJlMhD8GPYe8xBBWMcTnOJAk7Gx5kgM/8ENJiJmWyz8P0eyTMQXP5MjlnhFzTKGH5O+vxAlqgP6P3DaMFTHQMmjn/SAmO1IZ7Mcl7l8Ywasp2CSzQnfOBDnaVxRkwJfRwjHrMpwj40cKEqyITyTMCKrhWaWnyXgRoKETozdQzjPShLA5KasJWO370/Of35w9n5RaH4z19/v90Jmg81PYaVNj3V1HeOwsbItbH7Cdwj460Zam3IfQL06KhrjNvXzB1jrzFyy/BrjF0fgY2BG4PwE8gd4/AGtsHTSNWbYMOf229GBnBHGV2re84nx7vdQjBLhc3JplxUY9b2qWs2fa4NXcMfN3W5dq1fbyJw0E3Lcy9MCkKHQ9WVfggVZaReCJhg6nAxgao8v7cbaVE+MxGE4PpkRAjeM6qeZmo7XROp7kcTqb6eHHtLU6ORCdD+x7qdwQDAaASja/BiJf2/FFijhHzm2nywmvU66s7W2x7dWXh0qTpQ3SE49UOIvYPF6ytuBz/OLf/jk96aAGJb60UuiagCvVQPJgRFcKEzSYUmTPImcm0c4zFRr5pcmQXTXzJ1O4T75Ium26oXXbvtXHVb1wd1JzXz56vIoec9Pv2UvzteeVmcv8Rc/XblCNZXv6uqHv0LUEsDBBQAAgAIABiVNVDYycd5mQEAAFoGAAAfAAAAdW5pdmVyc2FsL2h0bWxfc2tpbl9zZXR0aW5ncy5qc42UQW+CMBTH734K0l0XAnERt9umLlniYcl2W3YoUJFY2qYtTGb87qOorC1F6bvYPz/+r+9h32HiNQskwHvyDu3vdv9u7lsNKU3yEt2bOh7QC6UDgfMUfeYFwjlBwEKqy6udfPwnXMaAtKZx/aFsheYHqHqygVjoOHNYcIcmHFrl0H4c2t6V+LcTJ1pZp5K0PsellJT4CSUSEekTygvYMuDutV16hRZMK8RvoBuYIMM0CKLgZTlE/jsG04dwttC5hBYMknpNM+rHMNllnJYkHcq/rRnizRffne0eo8Uq0gGcC/kmUWEnXs1VDJOMIyHQOe9spcIJYxgjrBfUriuoYdwvyKKrXOTyQj+HKnSawQz1uxSoMDHSeN3u5omTaC+HimEY1oiPsaKsZGM4TjPVkR4ahvPZMnKimMI0J9lNTh1W2XbFTAMDbEeGH1Oedv+KQIXO9JphXDNqXbOt49oWQ9NlxGiQxty6ZBVW1rVrMGCXSFwidSRm1+aUcRhpTxq1//IAlBIm26IZIM1xv/VB4Bq3yegSrFNMjn9QSwMEFAACAAgAGJU1UJ0YY7BpAAAAcgAAABwAAAB1bml2ZXJzYWwvbG9jYWxfc2V0dGluZ3MueG1sLYoxCsMwDAD3vEJod9tsLcTJ1jFL0weIRBSDLAVblPb38ZDtuLth+mWBL5eaTCP2lxsC62pb0k/E9/IMd4TqpBuJKUdUQ5jGbhBbSV7s3sYKu9Cfy8K5gfNMuZ2p7qXF8Ah++h6vY3cAUEsDBBQAAgAIABmVNVCCkuKtKiwAAFRFAAAXAAAAdW5pdmVyc2FsL3VuaXZlcnNhbC5wbmftfHlUk1fXL3awb63VVlFEkbwigwEkVVQIBdJWEUEBDZNhSKwQo0JAggxhitYqyhRDIBEJpAqICISSyDzZKpAQJGoZGqZYkhAlQEowCZCBm6BQ32+631p3fX/ce8tarPAMZ599fnvv3977OU+4cdzT9fM1W9fo6el97nbkEFRP7yOMnt4Hv/1jtfZMwpBZgfZjVTTU9Ts9Wo/Ra+3BR6hvPb7V06vGf6b6/mPt8acXjsCi9fQ2XNT9rho9A4jX0zv02u3Qtz7x8KkRXnlxcoCN3ADzz8kr++Y/W7AuVRv8aH6Z4rJ17bec20+Ss4mvf0Tf+seHlT9t01fsO3Zq3cWfH58xKTzLN9ryUc3TL2ZQSVGmob3PDyQeulaARR8fd/rz0SaasDERx+ssPT8S1ucdluzfJ/rQoPxBIUDmUwkfEbculD3A22gV04v/Qh+s+1z/o8kn2o+Xl48LdIeOX6QZaT8uffId4UPt55/fGPkIVHyIpojpplvPmVi+CQo9twncrj14FB7hI6j4vMmkVDfkllsTE7YN49KzQ3vw1WcuWcz9q7SCYPHncpmFuruP6YNNEj/Q/mV7QnB98lPtH92HCDvpFrrbN7r03BCBFqUgEKN20kZah1PWGeDeuOIeNk7u+Eg3L+aNiag93cCAQ4UggklDjCQ0twwFo6nGIzXj7b+VekFCk+DrgKfhrUnYvBpkCLTeMVE+adt5cwqjHFwIkY+4OtFqkOuXVCMWGYANxwBOCW84PV1M2bDmZqrqYPaLYpvS+6zoGXabik1u7+QsqjiIlOBAxb3X+mBgWKEjFgMzFqZYgQtrZGRuXL+XvIipWx562I3AiPXzLMi0XTcP/Oq8ujrp/ml+OkI1lnr6tPW1WDQ5BtMyXdrPoucY1FQVp10PJ6pLntxH+p7PGCArCIK5ibWk5E4KEpD85nlqSFcCHgDR/MzZgy188GdXNQog22IJ8yPP2k9ossOpVWCNEbs+eKRQ6UVgSCbzGyWNhZ03rUEW/BDPDv6QrBnkzVFIKyqHvdBfO/Ps1K0xOhPaNhBNLB4ndF2fket/YljRuQNyBbtaYsouj2d+UXh3p9giRt04Bf3AdP8zFAxNZARBvwiF9VfxmbKZyVsVxBcl/R6w44qCDTuU3WiYX4kbKTium4sK7knBUGOGQ+hTc0a7qyz4rRgINjymDWZX15ecMSRM2ATBNvPpSDp1soqGyg/FgsW9igOs6L3GEpoo+VjWfo5v8voH33QJEwoxYOVWSZ0yuclNq+sp8ziooHdg7W8NlCrDR7anqj6Xsk6uE4StlkbNn4RnGNaxW6MBNRVpGTkGbGWlGqmu/hMG9zo/or8mBsGai6d9PS6cKW0+8poQ0l3bUDhE5jyXJuydLu/Ka3R2BgCdJxJvqgUJNiBqaQVxKNvyBEmcoRyJAbDim5WFij1sUQ19WHHyi/GURl5d/luvQ7l45n4YE3jtzyim1/c3v3UaIFKcqv30fc7v4tUFr7nssBPVvBjkter4kM95WDC8qbA3WZSCwfGdHzRz47rZ7BBps+BW+Y/1rBmdlaIE4bmDBzphJUcitnGYZRKPrB2IsIJGSoZyOwg0sA1vR45zkoR0qDNZjfxWYkIzX10R7BXrJFIuBU0Dw8SC9QV1VVPPR4apU9bbOLVbUudrfmm9Jk0e6jt6EeNU0hNPYkvDM7s81lyejMP2eyAds7pOmk5abcJQalTmnd5kcZQ5m8+cJUjDklTYiInEveYKojIQ7tmhziIzRk+uyezMZzdpkeAODM7e/iFsOM4Y1brY0JwEJw0QkznztKUonn7IZF0o/L7x2kzU7z0D+msaHDd/1eC8+ePcrV0KNHmI4aggMo6dHypekzlIs+EVf8F0ZlAtPbVBgOLtGRAG2CHEGqK+NzfSRqQprzhCH413Yneq701uSa80UsYbzRsXH2MlxAROQ5TH8rzxZmUiGzKjolAU4KfcDgibTrS+ilHOqaYSRqPXxgw3UGQT82UCjoc8uE4UPxE1LFDGEpeUzIILMlB+oXqAVNXamRpHsm0Oaq7HwXAi7GcAyP/8Ea3xVqtzNgM30q2F3+R+yY9lxRvx94CqLGJ4bl1XB11fgMeL3e8N3rOxAPcPR1YGdsI690Tks/kzJUZcWZKpVsln93840+ykLFP7Tdh3iKyUT/k0tY0kZNirfxs+ctgLysY4hnxbkwQXy6N4XK9NXmzJbzpXLN2mY0rW83SK0j3thkN5CVT4KH6oATmFJYzo6CSPEk4g2u7FXHNNS2/cjbrQe/RSz26s8YTwMPBhfz8BZ7w0nLUZzJrbUJwAfjaYILrZ/AbIeSwVHqZDltiNaIM5tO7zf8OuWf97CiZu2wSuPjCZRjmtC8QDdjaYrsGXVpg1SyQ+0qhjO72XEUCMLksY/8NlnU7eh3eWTsf/89/kkvoThFl/nMzfZOkHte2SUps3tJdeGuWlXjLcpZOxtfvgo7VLwz4f33FqtS7rXFo9+8V2yWhLU7xsok9L9iCbQufkRlst5bcFSfh4SOvghoTlEXKsekGG/Hb2uStgxF5Lmq3WMaNtOFyN3e8eusT17JTxaY81t1zxxpWb99l5yIm2WH2HySXKPvvV+j1dR+9qGZ0ewDS6TblDtE06lanT7qdfHA+5seh9MHtlNiP6lNs7QSajzVhGQKORVZcRaXl6KeZBPuUGkXxkN6TSkjUVJpakkWF7oLoUuu9Wak+gs1+z91ivxXGkOpmuMqdeFIZ0Ad8t8Rm2aToz01s6LO/Oaw4SN6pL/yk95/fjOwUutmpTWEMAzQf6a1Dc6p4Y6AtHnCYpZjHX+hMd5N9cwb5yLPkJZuVrCd6IYtsiaYllfUN1kVX9giDgO1hF53iwvcCo2hTJ7ZzvlKNrwS7rRcugOEAGCjKjK7yI7uCHsbjcg4iO9sf33qFSQE1a6A0gZBspu28loz5oiZ8ZO7+7h7CsWIo8Obu3GrLOEVQd0MQz7WyfX1kuJ+BG9nCfslebc8Nlmo0Al5TWd0Ddmc32Sg2wOp7dLJiwETjF909DZl77io4uqwNSjgJEv4PKLZWjb+ZoXabjyyYqIJNBCNrmXazggKZF085O7Mpk6SapsJWluhAeV6xMdZf5vd8KyHl/bCySt3CjsvCzxSsykwGQFH+zNDwAlbmyrP41OQIuA+UfZjQwK+L4SyDYRY26L4CybRlvlSNWGlpzCPvm1fMCfWADtUaJU83N9G2l7Fy5ozlBdr7miBu8OT6qpj9qMpEhDOHZRXuv4NMUJ/FLz3EfzZjbgqnl0BhR2SEjoPVXlnUo1Pl5wD1T7Ou+PfDTuYqXsKY2UwULuyLgt1a8nletTbS85Zco6fjT/PL9YP/llc53Jb6oyLXMbV478Yz8dcnaQdl4Vy5l+0cr191Z2V5pAVb+lsBo6TizjsAIp1lF1e5Kt/98BayjN+iSz69bAUMbQbgEpXxqVPHYcHZBJi6vtI9bjkwgvN+dVCNYW9jM83A+nJTX7CNutE3qCN22a/kOgm1IfxcpxAz5RcZynLjDHWr8GsMLKA0fHl2+ragZ1RMTeTxpSNASn9Rt37RMBxUs5UBF7p46j1GVPTX745Xzk9ljZqArAVZnGt0u8/ntr4+/Q6Xec00B5c5v6kMPmn+0jDyjmh5pKnd6JFueOpaVt89OfWRmj++reISRw/JpErTZMXnhYg2lAQ1d3ZIgm5gwfkldBnpXp+rJgzQv2mmDd6a9vnu0d+7eDNDPesXldqP+GJY7XVjn0dOD1ULVR7gwveKBMi1mfT8IGwXq6FgkWi3O9nrywUrYCjNTB9xzawTI47A2ZdQYDGR2ojZwiBcgfWHTk7/ijg5mnnB5DqYkcHQyW/ELy9COyxtUZ5wYp9gtC2q+6E6huEWfvczoTT6IBJx4L9gIeDXcyssybub5S2w0XzwaxO0kUi1WNBBk3EoGRbo3ZHv93PgZmGThVVhh7JrNby4P+d54xRd+96eEwrpymy4G50UDOp+olwPPEzEaHl9p7YaRs/slqb/l3j3DcyVBcBrVeY+ey8vqD0o3lNRkm+b9YXYMqPVWVJaCDQYsiz43pJCWwNyzxV3moGqH9cunXw8qsh9w4bUPJSHPZ6uFFOdlffcJkyNjk9194V37+DAb5Sios/RkwXtXM/JrvjPV5YG+gGi3+YexzW7uxp4rSCZgap8GGGYLwil5U1Y/jbYmJ9ZsLj2yTDxO6xvWchXZX6GElAPLEh9q702WZM5+YW8lcly2dymSVwp5ujBqf1Q5aoWq9Ro6/fXKelgwu7CPj/S8wB4pdEqsXbDPNoREpT9eGbkT8LzFL8kUBG+uDxB/Hz87/nSCfwTT/2Wp67IW25WjgeYg/4SzsQXBb46PilPzTyyj3UmzA6dIBay+reuP9pgEJDq69TiPPVyOidI/9BFpF91Bm/gJK9rY15B9N4GqHAD/+ZnHcV2gb6VaAj74ToOEuaV0c9E0ktfaEiD+IyAxiKXtpqr6X+ovT7Wex0Bx/NKzBPrFP8MSw7Fgw9K/RkMvVgh9nLmvZeKBcjxoxhm8cu2DMz+9o91VtssR+1+n/q8+fGeIf9xa9qePur/5b4mjZNtFjgY1J81L9+rqh8bc1OVxtzu12RHkvPCqiO2Yopobe/1bqQGn0Klpbo6Pr+q/9duerKrC9PwjN4joB8w/vl9Gf3wPyQDoinFy6Slyxd9zbjLtrKsZ0vaBkdBLM18t23f2pBVIV3Ngh8QDVaAqUZh7QZJHFAFtItbRymPurpjEMhmR0rB380FYHQkJ4PqXKY9W+4gzFPNj7el9jFPy7V42/vQK46Fd7A7RXeNoeSAeia3QlTvWGJLCzlleozy9btl0jiShCwvte0wg9AOaYgLT0hNgvxEtvJxztgD9O2y96WiSfx6hN1aGKZ60qkO1VE8y1WZcFDoQ9Q8zrs3QAJ0uiZ+onbRQGh8l05NsME5KpqF7DCImiBDSI2vkDKJIAyHlaGnu/K6V1ZEMCBtOJ72Gpl0XHq2Eni5+uUXb1+3luvbAYcSxkCR8fpBW1jCiFuAL1A/rTBqZCR0KJ244R64xscAnOvZb3nHftN+Mc4KER00JMBHbqJDxZRM+LepK3wM075CensrIHvar8++QQX8q/og1UN17X7mt7igmkJVCHz07rKBfuCHOKqVJGMORNFAdjMYYltCUhvir2L+0tHIhQb8LbTkRUY453V0P74Gz8vbLXhTdVwZG+LNDBtR9Dku69cqSScqnssnoh0EWSqMBGBwUE97tsuIkAUB6zoa7awjZP9wbtRp3AO+0QHrKq+UvikpqlNvSb9aEtE7H06diXLowbQ2t1kiS2Do9n3I5h3x5927eJ9fB/6JOf1puEKIV130Wm+hOsoTS24SJLzP6p0F1u9MpM04o2teFTZYY6PGSh4b4neTocGWX1XTqO3/fh0fuqT5TefJGAp9n7YVp6GfLKFe92dAIHwKhii9dCMBgsbgGtPVpugfav4TVym8oN7F4UF/GZ0ZNW96qR6xQ6pFvCZidhhx7FndvTCI9JyaMi3bPGkyZdzvelCVy7o2ae/gAC/yficW/xf1/KO5x8NODS52bNmO1uwKSL+Z14gEIbeuiGpsaqvMPc7SOk8XryLKBk+R0DQ/RzO29wHsrLW7P+pJd8driGuWONyV7X3fcFzcfD29JiGnghWyCY428qM4tjasVb3PmBYPZZ7rGkH0dxSkMHpF6ddh+i+lwc0/XdgspzHqVNg+Rrx6U+07UJmVWIAaiwcr7Ml4zdjYvGY9qqBhRtH53bzaerq5vC/XpLORvwVcaHw3F+X4hnKRWIBTVw7gsnGOYhXh87Z3hAzQ7Z1qCke94Bmf38P53i+w+KNtQnIzKLb7IdAiBfuUTRdhgUldyYVdMYOthOULssyqbDQR12J619E2qGImrBaQTTohmetV4VmwNx0Few3ev3sgeIjZyatT4duhIrXa+HROazvdmqBbd0Tfw1Z/cSyPaQqF+Ps+Po270yjwJ3mKhXP/bmMTcLQ1tltc7lDSG74PfWQMlPXy3L4lCYODETHGoNju86K22qPHcdIgfUhFDb85Qgnwnew2daoLluWixWYDbVNgU+Kry7pKJ7eWOOS9+WvNj8PmC6lv3fw3FrnarY5bRTTpsMRgAMJW+eB9Nd1R69q/JfYF1jAkK+dJHeLT01tZItiw0ybEGbnx0e/QmsCyoAl3XjJ7SvGx96yRZTutLDpV98H0SjnQidyf7uzu16cntrrkGSncS5bL3xx5afKLP51czyypaUMdEM9Z4KxI+isc31Iot7iLfl3WYlNIdd6KGI7BDg+pfkt/m4+F2Rx9U+mSC7YiD0hzp7jaTPURHV+Su4yIi2PT7dFOumbh3RiA87Nvdq74YpIiH3gudnyvUZoF7DkdRUzMVIyQx6ySzVzMAX/Dtrw0cvcf83nzJf6813UqdQLq49fzoFnUzo92jYDdRuvPjgyRRQu4+X7gp8CtMYkvQg36ur6BY/wE6u5p5o7GqUWIqHlC+sg7WzrMus5OkTSxmXYPomuAItjScOlYe4ZXno9iz+WsYadIK06F4Wpb8aHkZfY77Nu/JnbG+lWPu6+nTcXqHsH3uxf2KwKvulXXlTMPIquKHZQoWayDBdsw9C+1P2DjgVFg96TYRfzQLXIfwF1hLSo3DstBJztkzGnFtskuPFOyxDPw0xrgrzxL4ZXawmVsEr665tq0sZ3PNFE1RWyYcUccZe+3mxVC3x0DYyRn4cwPquF7nl85/J4AlJ6gU3ZEkSxINcBoRLmXmaWTK7Nj6xT/XuwgOZVNfq8JFKNWWt0MCOQd5cx12Nq2zBZIg1QhPPdK3+xGQybmYUjtrm7J2RZqK43ShMUtmS1tSQ6uC3dJjsnrXNKOX5kuiFNo+ZHjpkc9LYyDmUv6SmsM7XdZd2LgkJbGYeXl2RoFbVBi0Sa3aMDNFkIUigHQjZGajQZtG3JZS0yFbFjTLQd5vYZ36bP0vcVrF0gELdwCNcxrJoqYvaTqa2hQQDdFh9cjpdhlz/ipi7ipnLakK3tLoeOUlTWh9lTdfwGtoXL0ekZIF7RWILCEoPsd3TSEl1xsSPbDkt8NFsDRKZBJ/G/lK6Jqctrn0trk/N9xU3mRsfpnj49ZYft8wvVBlPV30dokMfbDhvmjzbhtw2D/FPiSonlC+9g6sDr7Vl2x7/8z8XHbZIGpNUY4rocrwLCNF7qu8kjqZiptLBX3WNXOMUmLpXfW11RLVX8CfAWKgP4f+Prz/7D2B2y/ZY0hs/zck5JGn9MmdYvUkRzMppOfsMzw2+4JQXFseM7ufXf6SNRBORXJdSUIHx9D5PK5/DqnnbX+UuO8owRs0deTyXtI+Ah1pZBPdAI/NtY3CtKz5SX+P4WGxUwT0iWAh3s9DTh1DTR3Lz7ELOZFjexGz3Zju+e3GgndonyWZWEA7fAh7WyGeBWAixqz9GM3/U6IUlRQyVkGcKv/dkNMD5HZKa7N3HGAflQ8YXvr+zDx4C86mXyDaJZ5c4O56p403wXsiI29tgZtN6TE36KuMx68w9pXks7k1f+w/iG6x6IH2Azi9LHWw3e+/TkpF9rjazmxMDpVgmRirDtd/Z08tHa3NAV6UF3xJRBo6u/IN94exdyrhxFWx1pdNJOXRCGrhx4EP7ppDdoY0wHDTDGtWAlsaXfzWTrZaO5l2Mk5pV21NYU7FxHqWxYTpVSKBQfSIlqgoWlWBBxENlVoj1ULDz7iIynxyYcZQn/pQ1rnmdQwWxy2NZRkuRyLyilbEgQ+eMjLxfpgBkhxpyB5iwEmZV91W9wyTqhqcxD7PiVP9XbnDfkp2LJbrZj3ASaHDP38IjHnwqiy5Nxn5DZz0zVdFCVf+dFc3cKgSVR5t0jL6HeTXtJAPC8LJNbbIuyTfKOjes+Py6rnXzBT5CO/2TPedRt5emyupu3DXOvdakAdSaCuW+qQe5zs+aRn13Vt30gc/8lgigWmC9tKnb0GE/reDs0gb2FpqyDfgzffE0WirSk0hQ/OGkNVv83b/7DNFq6IlXVfZSHFTLoKH2dQpVQbgyv8F3PnHltlnpdSUhJltbTPbDBDzXf42KeOolPGxzxBzP1x3fCQQ2UE657E9HNmetxmjtjC1VTkigSdpZqltc8MiZwsTixxVkEikPLlClAj1hL9/6jdfYudYHEX1ruVxlMydmMZ/OdN/DfIluMAofUmVbwk7TexY7y5OP2DOXwbMrQLPVCTzhG8w1u9ytjXGeV6wEfw8aSoMEahuZb8Wvps2zYhrkkaZXR6vD6a76INFxJC36XcXJjR9F6bHovPuO1pmbj4hoHhlvW0Cf2ISdt9lgql/KRJ4iBDtDN78FiwT19rrJqKkdzqsdskK/9KlZ17w98T/b03MbNAHUxdVIlDKRGnK+RjuXsTCC7JfJM8SnGXEGaSHjL+nRd1uTMpkZ8rkGH5xDj8kZOqeM2l0acmWNTWfkD9mqmiLVdIEzhPOnewwrmL2Zys231BRHRQ71Jl09j2NMPkmFmZP6trUU+mSFEXT1Hen/bFRQwxvqEnlSKtVCDZ6hAtWphjHIrGO/JBgm6VH1ZQdWlgIQ/pgiCIaEjcvM7/6hBYTfc8z17KBki3U7bxBcgAwktgNvdjUpmwy4ClHFTaKPPR5RG4NWlqTRrEG1Ckn/NsWvlcHGeOMJ+Itw1AfVG73GvGfAg2Ia5O2U9MRCyWIhZ8Xa0Rny9/DS3BTwYRt3qCkh43MyINoYmAg9IKgmxrkhXESCzH92xTer8Nt4Z4niBvMhT4RiM1gYA60p7e1fzpuGIEc7owHsxq55mQGZ9iVZgEmDVHu9L5vyWk6U5voq1jx4+5TO8nicKppiXttmTi3ghpDrrMoQHewgVDM4af1EWpHwWS+UN1L3xPWaUuzg3vSI5zG9e2aSOiC9zyhO/ZwD6bA4bE5qrKXfZvu2b99YFv0yAG+MMHNG53fyznYX04+lmk4UCkj1Q04k8jEinz0eW69pBh+vjbmPQvtTSR4s6aAvlCMANMfHBjZTdNpEkWSMLwh62GRU5OFyP6sUnl1MyUDb5slgz5AvjeYjiQQGQjpi3tRBV2YkZohsrj45f3snQixNz1beDTbUlnL0kQr48GdlJjzSuttOGN6Rc9Nlqa/hwT7ujAKcAK12ozP72Y3Ylaf2F0+hCe8tz4jqEBwjFT9+0mrfZbsmIEIBI3IBjpZ8hO5AkxEYKEHIyx/GC7OIhObQV6VbY4HLcT9yWZsZbk13oIcBku7Peg8wPCU57OBqR1q/NC/QKcVzXzc9Tet/D3x//TE2pgn/PZ0veblelrKe1leW21xcJrZ8sfU644qwb+rLD75d5WFriJxsHIVfESkilVJgPSV0maJWUHJr4+WP/7pumOzQASGDHQW/x8XTbTxO7yFSl72xvVG3719NEV26bGgJplY3K5Kngrz552r3/4eHKkHge/hbOT+Ho5/HH8Pp3Wp0PcMYJ/zHsCP77wHoNG6kvcsc2HX31P9B1NRogmzGrVyqSqfGJRF0DW6VyVslvcQdQnfI52SY6jboYtfePMaWeiUGDuj20cuaSr5/T46e5Lf2rcnJlOMqJtyBYzcH41/9l7+B2IKITjNH5M5QZ55DK+0Qle8cXAzdnacrqfbkxQOKGOPEHTJO42yXTfqUYOWUzeD35T4Fuw1Fes2oyYGIeQfREI2mezG8obq6XaNpPIcF1+NQB4AKRvaiVooDjUkixLK1L6x2xPdbweUyiHO/dYAjmVX1MBCg+NmMJv/mvLLm5t/hfC63RhoQFDcYc+0DAqBuAEJvMrUbRJRSohsX0rxG6YhpKHQZwdxrxkLDbxMl0Rx6z1sLAjimsWAWj+BwL5TNlEf3dAPAA3wt3Hst6ZTHCHA5POIMMX8zb/QXwfEYM64ud/Q1x9w4xLGTK+6rrltCX9wERjT7x46UqIPYTMS6XjLQIwj0KfrZH3xcTcWtANZVEE0QZ0LwjVTlDT6fR+CN+f5q1547F/2bkATiD+YuLBP/noxtCnH2DenWMAUJlX6cOl+8RW5oJB5IpK/J1MsCaz1QQmLVWXk7zLFeHKnEhQzCQNxvPu3R7v/i3EwBzzcs2YmSflMue/F4t4tnJ8MkQUO0aXFPrDC3UTy7kyUYNIyjKTYbzNUknaL8uk+GgTueYOh0qdVM2HGkrK/iHD4IbNsg0W7m3uae4QXi+43LZDr7zAT97KLMNgkfEGFv9CjZxhW+HpDw6JlKD1C7ot6WhzEmskJov2KxCK4igACMbl/T69GHEXbBG6QzAjhsAOFHjlI2RyjbabB/uMV7yXkawumg9BT1t6oioqWqqeY/BxgSB4BejbImWQMjJ6QT1rQk4JwjmxzVEeGskc4E54XZFwXWOi2ka0eUPIylAHTdsoHMjLqVejITFTFiOjgvRV4wYKnWTv+50It/ISgOX5mbEz3mlajHAZCtDavLT36fpErmp8V+ZM1LN1m6WhLouIPqa5iBqWaiN78NV1EgEDQna+NpOR7P5WZWGB1QfmciGxotcZgAtMKi7sAxgf+Cl50GgXvvPDqoOFGYOSDW1jd3kO5f5VNVRtuUWPr4kmDaIPs4HMiu4uS6vWeKmS/EqahL4HRbBRCICpeaEP2qVDIlAV0PH7PG9kmFmxMh2erOXinK2H2z79UnG5kGpKjtv5LIyBNsUPCBIKnePZJgSAM7tl+7j3vucfEyie5qeQj7dqLmVmz2WXDJLvDxlrigXAPsLOTFnJtLxo7v78qoy1/M/j/O1PpnlgILs5+gvvzk/eqgr83G/8W97e4v8X9Le5vcX+L+1dxv2SmG32p+yFEd2tbasx+w1XD1G2blr5jMAz4r796sPw1NjsbzChuYb0BaFHR1hy/0KZCGOBxqjqQ8wIgJWRBYB/dDJ42gujppWJlgYvTUkW54PmiClehWWc+IGJ5LY4Ko+dUOGUbyFkjbmtKiI20aeO3zgkh6j+dYE2gBthEQ/fs+Wt6ZzBFJqIRC6rzHO5+tAqrXcqwZ1dqDY8h+LN5vqOtLYGkhOoBf8vKd2xL1UfrBTaeIBAXgSeV6VN3zPAf6l3KZ+fZh7UhWAfcvr/gzWmVdpYrs9FEkeGp1XaWGM+S121PITf19ILiuT3bBVPUxak+xgijdj3YU+/MhSIT1BSIkbpVTy+ih/0gi5rf2nweDcBQ9HQ2GG6o5O1T10aedWZH6Tma9jDBKRSCbaSezirTvdW8fU7K6eY789adq/58tguTBXDpaV6ls2K9d9zMvdcFdvuoQns9460uPTNFzDw7Pa0Jw1+NNMX99epkRMPorIgDqtvWoi2fMRDdSzrd2tqbRvq5pi6SlxJPm41RwZtT1AuPFS9139uT8NraAqQwZb94OuTcFMelNnleKkxVZ+Js6BG1ZUhsUBgtEKQg8LujAOw9nB/KBM40W53q+9IofNd3mnOPrB6z8CoM0vbO8aIvWnJ+tRiyRn7jlUe846BceFWEj/BZ95ws8S8UO3Kwo96YQ2vwC3BzILa/KzNZHKOofijWTvvU+TwOZqH4Ejyd49jghLdQNJ3hJXD95VT1mYIQmBLreJjGqH2654ML5/XBnXgT1KgOTgZhbXu1JPx6CWX+GXho3FxZDOIx9A2KdH2KvRVSNZohdF+Dt3SQV9ZFcp2bNEGhQ9XP2A4wu858vrEwqo/K0v9mfjZ6JGH+doz0d33w0Mcve99DHRViBwx+sK/es+f2lk/ia6v9TvYqIqeUt2yLTHjplpdWpFrXbcfbIlz5IUe5xOzxRlnXIDowQIkNGuf6a+akRf6z6ZNoHnvcIWzIaKde6Rm2CcraGoNFF0RnmIjkYDkVeMlwOIzA6A2udclCouMRRIbpBNJRKahIF8J2hodU/rwlnSBURFX+yK2DxwGKknE2EYGCnOmEsDr0uSlRtVRQipOM8ds0TeX7F92cuxLRI2JMQQ2axqaFcOsgl7wZvoTZMfLim/N4rb0h6tT0TohmqFxcKeyLVDexdzi5zVDbqMQowLxdSb/b+QLVJ7/Uw2l4sS8GAKuiVbXUDYp5ynw2cn79dSH9YHby6JNB53WsOZUNINCpClYaMaQwGseWi9nJwoTdbGp5Y7MVv7YpWwLTOOaqwIGBktq3WIY9Vt6eMdvdJDiWJnz5NLZ/TXr1FlgKQHKXyVWIxnrTKaq7dilBcTYicq3QEDx/1ZqNUbbaWbf2DB5ogrb9OD0YMTD16aMy7l2mm+FXjee+hOIsQMhLVbhtGEpThtmhroL9vka9bR5sHB66Jad6y6BJkzHPJkxpb8pXi2bw7AlspciiYRrcPbudndwXnS9UtiKQw7EIqehcDiQyTDxivhRN4Vr8H9j9MmKBOiNwOuEAahmLhd6y5sRONLv2nOUljCTniDVBw3InjHtci9IS04HYOvvZH4MObhpRTM7i58HKj6cc2LI4s7aTWYsMO5tysSxmt9bk6SYoR+VeXFVVJQMkizys+Zz5zHnzpw27xRnt31QSkSVd5MEDnTloS1nk0dwvanjuaQXMWP5UYKjKrjoEDUgNxS7y29iyZj83YpDCKGsR5q18gMYkkixqRuJr++vbGts8O3gGtSrjVbqgqPYkeH84Z+M7FgrJjbqE+hp4YKLB484JVIWgNsfSt7iv1MllDTkJf5qXoCRVNkxzXEj4dm+14Y1heMmJrMgkaoFRWER6sjhXuQszQf7jpOZuc7cNH5Sn7LfiN7InGUGRqsbNl7yjf7uckLf1ZYjjlXHzsrvfq5ra3G9bbsFQtC7k7pTlUFh9a4s3alRwsnOofNfJwjKGC8mlK6ZfHnVkQiMWD+Z58mdjRqJv9cL2cgfmpKU1jOrYZElEtlHkiKs1zqsevcQrJ1fPiN3Ja9/sP1nllvdzd+sq6hBbsUN4uJCftP1oZo5pGAcXAeCEc2vgk4G1F0eo6Uc+9VaW7wVihrm43dsW144n5Npp1eZK6iWVlWrHftBjWRsmTGzK9i6Z/SwgZU/g1yVqrbk6J73ZA600bfAbQQUZHyZovcL3q4pN4JhrnADDr0ZrHXdaLK4WYpCOtQ5X7runqgJ9I7wPBZMTkoJ17hWzCN52Lmnem9QXXe8nmExcR5zhKe9L+vaG8ZqGQoe9rPGiA+84XJliLCY/CTb0uoFPLnVHoND5Xc41SVPiAD3PpzseX9hkUh12XVKcdk3/gwbHzYCYa92Y64BMFM7v0+qcobCChDIv9de+i9UXmCG/k2dmLlZM8W/2qkXgLYsbzYT+ulDslzimsqQthNiWuKdzLYGBKUQfrH5g85M1umz+0nNKy0maX+uOqb8Da36tr4XrSMJS2SutqQpbZb8/VR+cmgTtu1Vzd6dy2+LBU/4ERtKnker87B2QIZ+OELbwSFSOWAb4rDMe5rvXm2AL9wJCOeIAAkMCPiZVG04trKc04k8GjnpM45KwfZuppz7WVQ4XSuVqR3jcYU+kyuUCGvuvUxrSBzSt4jPptqYPTh65Ay35RWrmyd77U9e1tXJ+Y4zy5LGKkh7zrpRyI/sO9oPsFbx9BRmoF72GDmEuPa2iC8OulYAwlNC6La7OI5lzupxRqvOdcwviNo04HaFqRzTPScltqjxBrfWHCf1aCxh0LFB7xNC2W1Pb9LRJxQNJFSbwB2r0KLfXcsNwvBiiNMTx6N2uH/JDYfsqkJVr7+MgEQHfmfJLfdql3YW7vfFVYbqYnJqvXDxUpqhreB19khO4ydL3VaU6sNWF4N2pz5ZO39Tlp+jMnH3A8Na5dhBcpXvzq72uVVbJEYgRiwvtXhqBF5xW9OyyWOuZWdSAGglZGppUqWn1Lq7SZrqADsRHIUF+A+Il57jj4rlXE2zcNGqF9O9Pu4bs77o07JV7RBbJlErm6dZm0I8ypFs6hIH3jBEDOnIenG2yftkhEjWKfibhr3bVtwkVM890HGRRq4IvkUSn7s0S2IviCq6F2PcOkf0oIgyCd1OvR1jj7pQLDKoXSiJVyAu7B2BDZ/ylnyFHJIPS4DqLJSqzKFPk3aDkVkskb5A6ZWJzV8mcneYTnSR3MMGf7rnXY8KqZSNXdKGJ4lR48sw8V8tcEm9GktedQUQyaEJ+MI2iAj9g4E6LbZcsxt0J+IVC9oxRs6mqrva2uapFWTtOWrUIIBC7cbK+RcWEl3JKi5U5fzH7cMqnbNC13BmnTWONi8FN2hShzEasHUgp85JPrX/ZG+4rEEj6qp9IWr0GwYLWdEoqZSb5jVQkNv/4ews92/oBE5FzdEFzuCXq9+Fe3AJP5WWwONO2UNO346RAH3O/htrprrGLUCEe7gcmOhx8EtNfCz6stYKfS9Zk1nLpcbDnCStxzLplDrDY1/7b4lhb8zEbkHoIoYaANO3r1fl9q5Zl7ZmnMihyZw0ILUjQkNGOsgTEf1TLPDZo/fNqupfzvGBiEIJVt2mG0vGaIonyGGboVZVmfLFprnVR1YbYfsnFc0dqwH9WET3Gq5j4oOCF9SQzT+RrpYaxGBGjtxl81ei8eOBBlZkiqgCW9eHLOycERpA0CvZDbYj2rEszIsiMzs/f2NTJnCvb2tSNMdJbn2kimjsh6N6m6w1iTyae8x3diIKNWfMsOo+WC3qj74ck/fDk1mTivMYh7Ax43aXUw4Ro1S7M+Oe6DuJrQVHnwOjk3DxOCYLk2Dc0X5w/0+n8Q5DnPvziUypc7QY55pw3seXKN3LsSCk8c2n8offHq1hUFavdoG2uvTwsmWs+9IEexWSl5K0/oe0+yDuGkVJ7B2hXklqMaGuMbalIzJd+ovfyTn26YsvXiuE3JQ26rsJfsXPInGP7aG2Ej4DSBRkesfvn00SBoAWTMjWQMjVBiqGmLLwWOoRJyj/Uu+AOXxzlVWhSzIYEB5CXMVMRYwfXXoIN32eC5flXRl0iFlYXA89IU8AsXRSXBy5eSfjUj2QVpXcp+k9tBRYpU1iDHSNbZyRVhcJW77ntyfLhi9f07O9p+6OoCrtPWtKNpKuLsXw+CDfPJgOOOpvXVbYA9+o9KktYfA2x/yyULzhGGcqxF+5YzHJOXJe3Qy/rj46llkpPcfDd//zY9d/6kvd/8g9D3g3+MT19EXByN1/zKtgxSXfGzcXzEO27Uz/8L1BLAwQUAAIACAAZlTVQ425WeU0AAABqAAAAGwAAAHVuaXZlcnNhbC91bml2ZXJzYWwucG5nLnhtbLOxr8jNUShLLSrOzM+zVTLUM1Cyt+PlsikoSi3LTC1XqACKAQUhQEmh0lbJxAjBLc9MKcmwVbIwNkOIZaRmpmeU2CqZGZnDBfWBRgIAUEsBAgAAFAACAAgAEURsTjZhWAJHAwAA4QkAABQAAAAAAAAAAQAAAAAAAAAAAHVuaXZlcnNhbC9wbGF5ZXIueG1sUEsBAgAAFAACAAgAGJU1UCdCb2FMBQAALxQAAB0AAAAAAAAAAQAAAAAAeQMAAHVuaXZlcnNhbC9jb21tb25fbWVzc2FnZXMubG5nUEsBAgAAFAACAAgAGJU1UBUeYBujAAAAfwEAAC4AAAAAAAAAAQAAAAAAAAkAAHVuaXZlcnNhbC9wbGF5YmFja19hbmRfbmF2aWdhdGlvbl9zZXR0aW5ncy54bWxQSwECAAAUAAIACAAYlTVQXOVa4BQFAABsGwAAJwAAAAAAAAABAAAAAADvCQAAdW5pdmVyc2FsL2ZsYXNoX3B1Ymxpc2hpbmdfc2V0dGluZ3MueG1sUEsBAgAAFAACAAgAGJU1UNa1M4dkAwAAqgwAACEAAAAAAAAAAQAAAAAASA8AAHVuaXZlcnNhbC9mbGFzaF9za2luX3NldHRpbmdzLnhtbFBLAQIAABQAAgAIABiVNVDGEF1tDQUAAPYaAAAmAAAAAAAAAAEAAAAAAOsSAAB1bml2ZXJzYWwvaHRtbF9wdWJsaXNoaW5nX3NldHRpbmdzLnhtbFBLAQIAABQAAgAIABiVNVDYycd5mQEAAFoGAAAfAAAAAAAAAAEAAAAAADwYAAB1bml2ZXJzYWwvaHRtbF9za2luX3NldHRpbmdzLmpzUEsBAgAAFAACAAgAGJU1UJ0YY7BpAAAAcgAAABwAAAAAAAAAAQAAAAAAEhoAAHVuaXZlcnNhbC9sb2NhbF9zZXR0aW5ncy54bWxQSwECAAAUAAIACAAZlTVQgpLirSosAABURQAAFwAAAAAAAAAAAAAAAAC1GgAAdW5pdmVyc2FsL3VuaXZlcnNhbC5wbmdQSwECAAAUAAIACAAZlTVQ425WeU0AAABqAAAAGwAAAAAAAAABAAAAAAAURwAAdW5pdmVyc2FsL3VuaXZlcnNhbC5wbmcueG1sUEsFBgAAAAAKAAoABgMAAJpHAAAAAA=="/>
  <p:tag name="ISPRING_CURRENT_PLAYER_ID" val="universal"/>
  <p:tag name="ISPRING_LMS_API_VERSION" val="SCORM 1.2"/>
  <p:tag name="ISPRING_ULTRA_SCORM_COURSE_ID" val="853E2741-E5FB-44C0-B7BA-113F2CB23F63"/>
  <p:tag name="ISPRING_CMI5_LAUNCH_METHOD" val="any window"/>
  <p:tag name="ISPRINGONLINEFOLDERID" val="1"/>
  <p:tag name="ISPRING_SCORM_PASSING_SCORE" val="0.000000"/>
  <p:tag name="ISPRING_FIRST_PUBLISH" val="1"/>
  <p:tag name="ISPRING_RESOURCE_PATHS_HASH_PRESENTER" val="ea338cf9c5ead8778a1d1a3c4be991aa6713dc"/>
  <p:tag name="ISPRING_ULTRA_SCORM_COURCE_TITLE" val="Facing-Interview-for-Success-Demo"/>
  <p:tag name="ISPRING_SCORM_ENDPOINT" val="&lt;endpoint&gt;&lt;enable&gt;0&lt;/enable&gt;&lt;lrs&gt;http://&lt;/lrs&gt;&lt;auth&gt;0&lt;/auth&gt;&lt;login&gt;&lt;/login&gt;&lt;password&gt;&lt;/password&gt;&lt;key&gt;&lt;/key&gt;&lt;name&gt;&lt;/name&gt;&lt;email&gt;&lt;/email&gt;&lt;/endpoint&gt;&#10;"/>
  <p:tag name="ISPRINGCLOUDFOLDERID" val="0"/>
  <p:tag name="ISPRING_OUTPUT_FOLDER" val="[[&quot;$l\uFFFD2{DF9C20C0-FDD1-4CD5-9D7C-163304BAF1E1}&quot;,&quot;F:\\Drive C Vaio\\html\\courses\\voice-overs\\Facing Interview for Success\\Split Files - Facing Interview for Success&quot;],[&quot;]\uFFFD\r\uFFFD{A7A34BBC-DA8A-41AC-A018-C85040C42A73}&quot;,&quot;G:\\VMS\\Voiceovers\\Facing Interview for Success\\Ispring Files - Facing Interview for Success&quot;]]"/>
  <p:tag name="ISPRING_PUBLISH_SETTINGS" val="{&quot;commonSettings&quot;:{&quot;webSettings&quot;:{&quot;useMobileViewer&quot;:&quot;T_TRUE&quot;},&quot;lmsSettings&quot;:{&quot;useMobileViewer&quot;:&quot;T_FALSE&quot;},&quot;cloudSettings&quot;:{&quot;useMobileViewer&quot;:&quot;T_FALSE&quot;},&quot;ispringLmsSettings&quot;:{&quot;useMobileViewer&quot;:&quot;T_FALSE&quot;},&quot;playerId&quot;:&quot;universal&quot;},&quot;advancedSettings&quot;:{&quot;enableTextAllocation&quot;:&quot;T_TRUE&quot;,&quot;viewingFromLocalDrive&quot;:&quot;T_TRUE&quot;,&quot;contentScale&quot;:75,&quot;contentScaleMode&quot;:&quot;SCALE&quot;},&quot;compressionSettings&quot;:{&quot;imageSettings&quot;:{&quot;jpegQuality&quot;:70,&quot;optimizeImageForResolution&quot;:&quot;T_FALSE&quot;},&quot;audioQuality&quot;:70,&quot;videoQuality&quot;:65},&quot;protectionSettings&quot;:{&quot;watermarkEnabled&quot;:&quot;T_FALSE&quot;,&quot;watermarkPosition&quot;:&quot;MIDDLE_CENTER&quot;,&quot;openWatermarkUrl&quot;:&quot;T_FALSE&quot;,&quot;openWatermarkWebPageInNewWindow&quot;:&quot;T_FALSE&quot;,&quot;displayAfterEnabled&quot;:&quot;T_FALSE&quot;,&quot;displayUntilEnabled&quot;:&quot;T_FALSE&quot;,&quot;domainRestrictionEnabled&quot;:&quot;T_FALSE&quot;,&quot;enablePassword&quot;:&quot;T_FALSE&quot;},&quot;videoSettings&quot;:{&quot;videoCompressionSettings&quot;:{&quot;audioQuality&quot;:70,&quot;videoQuality&quot;:75},&quot;secondsOnEachSlide&quot;:5,&quot;hostingSettings&quot;:{}},&quot;ispringOnlineSettings&quot;:{&quot;onlineDestinationFolderId&quot;:&quot;1&quot;},&quot;cloudSettings&quot;:{&quot;onlineDestinationFolderId&quot;:&quot;0&quot;},&quot;wordSettings&quot;:{&quot;printCopies&quot;:1}}"/>
  <p:tag name="ISPRING_PRESENTATION_TITLE" val="Facing-Interview-for-Success-Demo"/>
  <p:tag name="ISPRING_SCORM_RATE_QUIZZES" val="0"/>
</p:tagLst>
</file>

<file path=ppt/tags/tag10.xml><?xml version="1.0" encoding="utf-8"?>
<p:tagLst xmlns:a="http://schemas.openxmlformats.org/drawingml/2006/main" xmlns:r="http://schemas.openxmlformats.org/officeDocument/2006/relationships" xmlns:p="http://schemas.openxmlformats.org/presentationml/2006/main">
  <p:tag name="ISPRING_SLIDE_INDENT_LEVEL" val="0"/>
  <p:tag name="ISPRING_CUSTOM_TIMING_USED" val="0"/>
  <p:tag name="GENSWF_SLIDE_TITLE" val="ManagementStudyGuide.com"/>
  <p:tag name="GENSWF_ADVANCE_TIME" val="37.000"/>
</p:tagLst>
</file>

<file path=ppt/tags/tag2.xml><?xml version="1.0" encoding="utf-8"?>
<p:tagLst xmlns:a="http://schemas.openxmlformats.org/drawingml/2006/main" xmlns:r="http://schemas.openxmlformats.org/officeDocument/2006/relationships" xmlns:p="http://schemas.openxmlformats.org/presentationml/2006/main">
  <p:tag name="GENSWF_SLIDE_TITLE" val="Facing Interview for Success"/>
  <p:tag name="ISPRING_SLIDE_INDENT_LEVEL" val="0"/>
  <p:tag name="ISPRING_CUSTOM_TIMING_USED" val="0"/>
  <p:tag name="GENSWF_ADVANCE_TIME" val="26.000"/>
</p:tagLst>
</file>

<file path=ppt/tags/tag3.xml><?xml version="1.0" encoding="utf-8"?>
<p:tagLst xmlns:a="http://schemas.openxmlformats.org/drawingml/2006/main" xmlns:r="http://schemas.openxmlformats.org/officeDocument/2006/relationships" xmlns:p="http://schemas.openxmlformats.org/presentationml/2006/main">
  <p:tag name="GENSWF_SLIDE_TITLE" val="Learning Objectives"/>
  <p:tag name="ISPRING_SLIDE_INDENT_LEVEL" val="0"/>
  <p:tag name="ISPRING_CUSTOM_TIMING_USED" val="0"/>
  <p:tag name="GENSWF_ADVANCE_TIME" val="21.000"/>
</p:tagLst>
</file>

<file path=ppt/tags/tag4.xml><?xml version="1.0" encoding="utf-8"?>
<p:tagLst xmlns:a="http://schemas.openxmlformats.org/drawingml/2006/main" xmlns:r="http://schemas.openxmlformats.org/officeDocument/2006/relationships" xmlns:p="http://schemas.openxmlformats.org/presentationml/2006/main">
  <p:tag name="GENSWF_SLIDE_TITLE" val="Interview Process &amp; its Components - 1/4"/>
  <p:tag name="ISPRING_SLIDE_INDENT_LEVEL" val="0"/>
  <p:tag name="ISPRING_CUSTOM_TIMING_USED" val="0"/>
  <p:tag name="GENSWF_ADVANCE_TIME" val="18.000"/>
</p:tagLst>
</file>

<file path=ppt/tags/tag5.xml><?xml version="1.0" encoding="utf-8"?>
<p:tagLst xmlns:a="http://schemas.openxmlformats.org/drawingml/2006/main" xmlns:r="http://schemas.openxmlformats.org/officeDocument/2006/relationships" xmlns:p="http://schemas.openxmlformats.org/presentationml/2006/main">
  <p:tag name="GENSWF_SLIDE_TITLE" val="Interview Process &amp; its Components - 3/4"/>
  <p:tag name="ISPRING_SLIDE_INDENT_LEVEL" val="0"/>
  <p:tag name="ISPRING_CUSTOM_TIMING_USED" val="0"/>
  <p:tag name="GENSWF_ADVANCE_TIME" val="9.000"/>
</p:tagLst>
</file>

<file path=ppt/tags/tag6.xml><?xml version="1.0" encoding="utf-8"?>
<p:tagLst xmlns:a="http://schemas.openxmlformats.org/drawingml/2006/main" xmlns:r="http://schemas.openxmlformats.org/officeDocument/2006/relationships" xmlns:p="http://schemas.openxmlformats.org/presentationml/2006/main">
  <p:tag name="GENSWF_SLIDE_TITLE" val="Understand what Interviewers look for - 4/4"/>
  <p:tag name="ISPRING_SLIDE_INDENT_LEVEL" val="0"/>
  <p:tag name="ISPRING_CUSTOM_TIMING_USED" val="0"/>
  <p:tag name="GENSWF_ADVANCE_TIME" val="26.00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GENSWF_SLIDE_TITLE" val="Common Questions Asked - 1/4"/>
  <p:tag name="ISPRING_SLIDE_INDENT_LEVEL" val="0"/>
  <p:tag name="ISPRING_CUSTOM_TIMING_USED" val="0"/>
  <p:tag name="GENSWF_ADVANCE_TIME" val="49.000"/>
</p:tagLst>
</file>

<file path=ppt/tags/tag9.xml><?xml version="1.0" encoding="utf-8"?>
<p:tagLst xmlns:a="http://schemas.openxmlformats.org/drawingml/2006/main" xmlns:r="http://schemas.openxmlformats.org/officeDocument/2006/relationships" xmlns:p="http://schemas.openxmlformats.org/presentationml/2006/main">
  <p:tag name="GENSWF_SLIDE_TITLE" val="Common Questions Asked - 4/4"/>
  <p:tag name="ISPRING_SLIDE_INDENT_LEVEL" val="0"/>
  <p:tag name="ISPRING_CUSTOM_TIMING_USED" val="0"/>
  <p:tag name="GENSWF_ADVANCE_TIME" val="21.000"/>
</p:tagLst>
</file>

<file path=ppt/theme/theme1.xml><?xml version="1.0" encoding="utf-8"?>
<a:theme xmlns:a="http://schemas.openxmlformats.org/drawingml/2006/main" name="Job_Interview_24">
  <a:themeElements>
    <a:clrScheme name="interview">
      <a:dk1>
        <a:sysClr val="windowText" lastClr="000000"/>
      </a:dk1>
      <a:lt1>
        <a:srgbClr val="000000"/>
      </a:lt1>
      <a:dk2>
        <a:srgbClr val="1F497D"/>
      </a:dk2>
      <a:lt2>
        <a:srgbClr val="ABAF9A"/>
      </a:lt2>
      <a:accent1>
        <a:srgbClr val="556358"/>
      </a:accent1>
      <a:accent2>
        <a:srgbClr val="A8532B"/>
      </a:accent2>
      <a:accent3>
        <a:srgbClr val="000000"/>
      </a:accent3>
      <a:accent4>
        <a:srgbClr val="8064A2"/>
      </a:accent4>
      <a:accent5>
        <a:srgbClr val="4BACC6"/>
      </a:accent5>
      <a:accent6>
        <a:srgbClr val="F79646"/>
      </a:accent6>
      <a:hlink>
        <a:srgbClr val="C16546"/>
      </a:hlink>
      <a:folHlink>
        <a:srgbClr val="7F7F7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Job_Interview_24</Template>
  <TotalTime>5112</TotalTime>
  <Words>458</Words>
  <Application>Microsoft Office PowerPoint</Application>
  <PresentationFormat>On-screen Show (4:3)</PresentationFormat>
  <Paragraphs>64</Paragraphs>
  <Slides>8</Slides>
  <Notes>8</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20" baseType="lpstr">
      <vt:lpstr>Arial</vt:lpstr>
      <vt:lpstr>Arial Narrow</vt:lpstr>
      <vt:lpstr>Arial Rounded MT Bold</vt:lpstr>
      <vt:lpstr>Calibri</vt:lpstr>
      <vt:lpstr>Dubai Medium</vt:lpstr>
      <vt:lpstr>Eras Demi ITC</vt:lpstr>
      <vt:lpstr>Footlight MT Light</vt:lpstr>
      <vt:lpstr>Tahoma</vt:lpstr>
      <vt:lpstr>Wingdings</vt:lpstr>
      <vt:lpstr>Job_Interview_24</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ewlett-Packar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cing-Interview-for-Success-Demo</dc:title>
  <dc:creator>User</dc:creator>
  <cp:lastModifiedBy>Himanshu Juneja</cp:lastModifiedBy>
  <cp:revision>313</cp:revision>
  <dcterms:created xsi:type="dcterms:W3CDTF">2011-12-02T13:49:26Z</dcterms:created>
  <dcterms:modified xsi:type="dcterms:W3CDTF">2022-10-22T11:03:24Z</dcterms:modified>
</cp:coreProperties>
</file>